
<file path=[Content_Types].xml><?xml version="1.0" encoding="utf-8"?>
<Types xmlns="http://schemas.openxmlformats.org/package/2006/content-types">
  <Override PartName="/ppt/slideLayouts/slideLayout15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s/slide9.xml" ContentType="application/vnd.openxmlformats-officedocument.presentationml.slide+xml"/>
  <Override PartName="/ppt/tags/tag9.xml" ContentType="application/vnd.openxmlformats-officedocument.presentationml.tags+xml"/>
  <Override PartName="/ppt/embeddings/oleObject4.bin" ContentType="application/vnd.openxmlformats-officedocument.oleObject"/>
  <Default Extension="emf" ContentType="image/x-emf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tags/tag5.xml" ContentType="application/vnd.openxmlformats-officedocument.presentationml.tags+xml"/>
  <Default Extension="rels" ContentType="application/vnd.openxmlformats-package.relationships+xml"/>
  <Override PartName="/ppt/slides/slide10.xml" ContentType="application/vnd.openxmlformats-officedocument.presentationml.slide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Default Extension="jpeg" ContentType="image/jpeg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Default Extension="xml" ContentType="application/xml"/>
  <Override PartName="/ppt/slideLayouts/slideLayout16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24.xml" ContentType="application/vnd.openxmlformats-officedocument.presentationml.slideLayout+xml"/>
  <Override PartName="/ppt/slides/slide15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s/slide6.xml" ContentType="application/vnd.openxmlformats-officedocument.presentationml.slide+xml"/>
  <Override PartName="/ppt/embeddings/oleObject1.bin" ContentType="application/vnd.openxmlformats-officedocument.oleObject"/>
  <Override PartName="/ppt/tags/tag6.xml" ContentType="application/vnd.openxmlformats-officedocument.presentationml.tags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Default Extension="png" ContentType="image/png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s/slide7.xml" ContentType="application/vnd.openxmlformats-officedocument.presentationml.slide+xml"/>
  <Override PartName="/ppt/embeddings/oleObject2.bin" ContentType="application/vnd.openxmlformats-officedocument.oleObject"/>
  <Override PartName="/ppt/presentation.xml" ContentType="application/vnd.openxmlformats-officedocument.presentationml.presentation.main+xml"/>
  <Override PartName="/ppt/tags/tag7.xml" ContentType="application/vnd.openxmlformats-officedocument.presentationml.tags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Default Extension="vml" ContentType="application/vnd.openxmlformats-officedocument.vmlDrawing"/>
  <Override PartName="/ppt/slides/slide3.xml" ContentType="application/vnd.openxmlformats-officedocument.presentationml.slide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8.xml" ContentType="application/vnd.openxmlformats-officedocument.presentationml.slide+xml"/>
  <Override PartName="/ppt/embeddings/oleObject3.bin" ContentType="application/vnd.openxmlformats-officedocument.oleObject"/>
  <Override PartName="/ppt/tags/tag8.xml" ContentType="application/vnd.openxmlformats-officedocument.presentationml.tags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slideLayouts/slideLayout19.xml" ContentType="application/vnd.openxmlformats-officedocument.presentationml.slideLayout+xml"/>
  <Default Extension="bin" ContentType="application/vnd.openxmlformats-officedocument.presentationml.printerSettings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256" r:id="rId2"/>
    <p:sldId id="292" r:id="rId3"/>
    <p:sldId id="282" r:id="rId4"/>
    <p:sldId id="283" r:id="rId5"/>
    <p:sldId id="293" r:id="rId6"/>
    <p:sldId id="284" r:id="rId7"/>
    <p:sldId id="286" r:id="rId8"/>
    <p:sldId id="285" r:id="rId9"/>
    <p:sldId id="277" r:id="rId10"/>
    <p:sldId id="280" r:id="rId11"/>
    <p:sldId id="279" r:id="rId12"/>
    <p:sldId id="288" r:id="rId13"/>
    <p:sldId id="290" r:id="rId14"/>
    <p:sldId id="289" r:id="rId15"/>
    <p:sldId id="291" r:id="rId16"/>
  </p:sldIdLst>
  <p:sldSz cx="9144000" cy="5143500" type="screen16x9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clrMru>
    <a:srgbClr val="F7F4F4"/>
  </p:clrMru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767"/>
    </p:ext>
    <p:ext uri="{FD5EFAAD-0ECE-453E-9831-46B23BE46B34}">
      <p15:chartTrackingRefBased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2056" autoAdjust="0"/>
    <p:restoredTop sz="94753" autoAdjust="0"/>
  </p:normalViewPr>
  <p:slideViewPr>
    <p:cSldViewPr snapToGrid="0">
      <p:cViewPr varScale="1">
        <p:scale>
          <a:sx n="198" d="100"/>
          <a:sy n="198" d="100"/>
        </p:scale>
        <p:origin x="0" y="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howGuides="1">
      <p:cViewPr varScale="1">
        <p:scale>
          <a:sx n="93" d="100"/>
          <a:sy n="93" d="100"/>
        </p:scale>
        <p:origin x="2604" y="7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gs" Target="tags/tag1.xml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5EE924-7C7A-4DF4-8160-1F8C80331E0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5974B7-4A7C-489A-BBD7-F801394F3F5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5CFF72-F475-4042-99CF-93073580059F}" type="datetimeFigureOut">
              <a:rPr lang="nl-NL" smtClean="0"/>
              <a:pPr/>
              <a:t>20-05-2019</a:t>
            </a:fld>
            <a:endParaRPr lang="nl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63C70C-2828-4B0F-96A7-C6BCB63E79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BCE4F6-ADAA-471B-9818-4E936AF306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6576AF-A7B7-4ADB-AB49-01212135A7A5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682715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C29034-7B02-44B1-A2AD-5C94FC3C3932}" type="datetimeFigureOut">
              <a:rPr lang="nl-NL" smtClean="0"/>
              <a:pPr/>
              <a:t>20-05-2019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429F4C-0819-44EE-9EF8-74EED277180B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83601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png"/><Relationship Id="rId1" Type="http://schemas.openxmlformats.org/officeDocument/2006/relationships/vmlDrawing" Target="../drawings/vmlDrawing4.vml"/><Relationship Id="rId2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1.png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png"/><Relationship Id="rId1" Type="http://schemas.openxmlformats.org/officeDocument/2006/relationships/vmlDrawing" Target="../drawings/vmlDrawing3.vml"/><Relationship Id="rId2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Parnassia_PP_templat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" name="Group 14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43776B-CC04-42BA-9B95-EB50BBE8D9A7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9A64D79-306C-4F7C-A10C-E6DD6F9B597B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8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5927D3-2821-44B3-A0D5-5A759982F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F029C7-6EBB-4DF5-9E58-7654FA2577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776D2D-A61E-46D5-8BF8-6CF729E29D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391ADE-FA4C-4815-B727-9CCE96FFB6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7A7E4D-A0BE-4B30-96DA-4C250160DA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319121-D89B-4E64-A60D-5DB6FC83B1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7DDC8F-77FB-4B28-A08A-5D12E5D7DA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74693F-BFA0-46ED-91D4-F8C8931053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5FB317-4905-4BB4-9A1B-334567A099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8B3580-F8A6-4552-9558-2429569861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31ADCD-467F-4C4D-9B6C-C96383465A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882DAB-90A8-4E3A-8A4D-A5D6AB7CF4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A5EA2B-9274-482C-82D2-70CDD5757E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9C2748-C883-4FE3-A06A-226C8B9022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B0D0FF-1240-42A7-8EBB-11CCBA3080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59A623D-6F9C-42D5-9A88-46A5A41744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E43601-CA07-4427-A2B6-8DDE6DBA6E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06178F-1643-41C9-A324-CD99271D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910D42-E4DC-4B9A-BC6C-0C25B7F087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6E6BBAE-3A55-4B72-B240-BB134EC1CA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5D7D2E-A8AE-44D0-8048-DE5E4F6880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812203-A445-4ACF-93BF-F938648133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736EB2-6B10-44EC-8765-4537551E95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A6A596-EB19-4D5D-97DB-C044BB5297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9AE4B1-CD59-4663-811F-2F8C2F3E9A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682CDB-2B17-4B5C-917B-77A78148E9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07B184-93E8-4AF7-AED1-2D6C8D2478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0BAE36-9FCF-4C0A-9FEA-B4A159E4F6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DEA69E-21F5-4A1B-81EC-4325B98294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E8F94C-544F-463F-AB8A-DD4FBF968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9CCF57C-7682-405D-BD81-ED73E4606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F7029E-D4B7-48A0-A43E-01E1D20CB0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0154BC-FC35-4C3B-BDD4-F7D1CEC66B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623E06-CC23-424A-928B-CCA78EFB9C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C9057C-103D-4876-BC49-964ACEE642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EEAEEF-048C-4D59-BCF2-F56705B250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FCC0EEB-D316-465C-8343-D5411EDDB4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46230A-AEDD-491F-9771-74A2A98D88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256A3E-76D4-4F8E-ACA9-D764146E0C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ED8F46-F919-4EF1-9F23-65351531FC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DC1137-C0AE-45AC-869A-1263D84B66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AEB903-2BBD-4E65-98BA-FF9540BF67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00F16C9-C329-417B-9455-0B4DF47EF06D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6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DEF525-0C41-4BCD-B2DB-E69394C72B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89753B-F044-4CB1-AD8F-87D6A7AE7D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75BCFD-25DA-45B5-A6AB-0EB653DA6F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CE50CC-74DF-4FB9-8AEF-BE6C9B6C6A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AACB713-A9DD-4B3E-88A1-9C840DCD60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971DD0-9940-456C-9A93-444D95259A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BFEBD1-71FB-4223-BC9A-330F186E1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48B364-7FF0-4BED-87B6-89B2379179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4A65DE-A130-4E76-94A4-0FC2AAFF0B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8568D8B-AF2F-46B9-912D-674770F298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04B615C-8593-4381-8CA9-628345DF59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C558FB-DFF8-4E5E-AA7A-F99FBBAE30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4B761E-7811-43A3-ADF4-472C082B19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FA415AE-DBCF-4433-8DE6-6961DD4041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9E970A8-B21B-47C1-A781-2B56559157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AB9D02-7F47-411A-A7E0-21EA139732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F8BD7F2-14B9-4A09-A790-89D149609D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707527-E613-436F-836B-4A4B54779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D1DC22-A41F-44F1-AC99-86200473EA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A653425-5485-4E5F-A689-BA0FDD4FBF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40D22A-8684-44DA-B4AF-7781BCE849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568B9C-C4B4-441E-BB31-DCFF8EEE2A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50CAAD-8E1F-4C04-A27E-6712EEE120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FD7717C-1C41-41F2-872E-B3F996B7D7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9A161CF-1D25-4A2D-84BB-E5DF5994E3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812E12-F6D7-419F-9F99-91AA44350B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EC671A-70A7-48AC-9D57-3706970BB9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4E5076-67B6-4F94-BB50-49F4126D12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D1CC71B-0C57-41FA-90E4-871CC4478F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DFC155-8870-4EF7-87DE-3398D7C90C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FF42260-AD8D-42CC-BD81-59D63C0CD3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AFDBEF-34BD-4A8E-BA42-2EFBF9CA21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17C14E-A2D2-4444-9E32-850D6CE40D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5064B0-0B2E-457A-9A21-2C3FCCF714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EF20819-9DA3-40D2-9C20-C15F33F4D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08DACC-F052-4F09-B4B8-F88A03A1CF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7CFB8A-7CEA-43B4-B860-08D3D62596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6D5587-4575-4E0A-BD29-9954019E3E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98E389-6F6F-42D8-A817-B978312DD6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B5D714-194C-4F78-BA1C-3682B57256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D71ED48-0F1A-497D-AB0C-16A6F93000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3A9BDB-5614-48ED-BF81-DA80CCD2E0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39A9B3B-278B-4682-9D71-FAFDA760908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3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E39C29-9E98-45DB-999C-2181C3568B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E0DF0CD-53B1-4E5E-A8D2-65D20A4F60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959B9B-4E52-434A-89EB-464665F099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6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1E0687D-015F-4C68-BF7C-12B289A96F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EAD2E25-69FC-4568-B627-6E619E7A2C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DC28211-EAC6-4C1C-A238-7C71F4F68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1722CDF-16E6-4B2E-AF55-73FBD54C75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A2E2B1-7D47-4079-ADE5-A78C21BA09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D3ABD6-466F-4715-97D6-1D74FFA46F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CE508A-2E4A-48C9-BF6F-03B1986D4D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1C235A-B7F9-4900-B000-9278858BF3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AEF3A0-EFD0-430D-8D3A-154F56FB48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AB28C6-7870-4E9E-BF4F-BCDFBE176E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EC5D5A5-25DB-42E9-9CBA-457CC7DE07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DCA535-19A7-41FE-94E9-8C0D48E709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D028E8-2775-4DCA-9306-630BAAF9FA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BB7717-134F-464F-966A-58BD9D78B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C9B257B-9CF1-4BAB-9D47-C5B3CBDA2B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9318B6-81BE-480F-A68E-C2053802E4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93B223-4E8D-4F1F-8A64-634FB232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F8432D7-7CFD-4DE2-A6B1-E52F942A32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A65213-F231-4F69-8464-971B426D39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22287AA-7FD1-4C00-B5FC-742255C4D6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1EBEE90-7789-4223-9552-DAF102680E61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9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7C5C7E2-A1D2-406A-8BF7-BE8EBBB133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F3A02AE-C0EB-48C6-9B2F-EF556E2F4E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895221C-3381-4DF0-9940-F97DA31C1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7AC440-CA5E-42BF-97B8-FFC65E8776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E2CAD6-AE9D-4E93-B023-457270AE62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7C1B6F-294E-4D97-913D-FBCA8A95A2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B6BEAB-B9C7-4D05-9454-7D8DE10AD4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BFE5B21-B4B5-4C66-97BC-E11E4DE37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718A18F-8F47-449A-A82E-236F6DC3DD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0256D9F-E531-4575-9C94-34C192412A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901D17-6E43-49E8-82C8-8DB0EC6DD2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D6743E-D090-428B-967B-D9D29C42D2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3C0ABD-872A-46A1-AEAD-5CD3FDB76B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48135F-1ECB-46FE-9938-0EAD9F2386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AA0522-D80E-48CA-871C-CE9EB17F6D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18C0FA-4C33-4834-B713-5309EAFEC0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35A7F2-5DF0-4DD3-942E-5F94E0590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EC079F-136D-4946-A117-1FAE91B4E4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5596A8B-C6E6-4BDB-9491-A3246C391B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247678-1358-42E7-B8D7-D300E00453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FCBEDC-9453-4F09-83DE-4E59DFE008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EB68B1-5DF3-4474-9DF2-2DCCFCD01A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1E7A3B-9FC4-497C-BA82-701D3EB536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1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C5F068-4FB6-4D89-9583-AE8D0EC5FF0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FF0320-1B90-446D-AE9F-5AA9A996A9C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9507B19-9A92-476A-869B-45F7F977A0A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0CCA7A-9D88-4F28-9AD6-A6073FCC41B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5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2E3C48-9CE2-4BF2-A691-7CDCC899488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C614BAB-EF11-4A6B-A919-FE1991BAF79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D8BDD6-EB82-4C84-A2E4-0EC07255276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A01726-6BFE-47DA-A46A-9881534AFF5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9" name="Rectangle 14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361E2F-E1A6-4CAD-A2FF-0E88B0390FA0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2" name="Picture 16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9E5E83-D171-41FD-9150-90EA840C35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 bwMode="gray">
          <a:xfrm>
            <a:off x="267" y="4026331"/>
            <a:ext cx="3185465" cy="1117169"/>
          </a:xfrm>
          <a:prstGeom prst="rect">
            <a:avLst/>
          </a:prstGeom>
        </p:spPr>
      </p:pic>
      <p:sp>
        <p:nvSpPr>
          <p:cNvPr id="17" name="Freeform 1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EB0B5B1-87E0-47D3-8743-7D6677736709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251200" cy="3232800"/>
          </a:xfrm>
          <a:custGeom>
            <a:avLst/>
            <a:gdLst>
              <a:gd name="T0" fmla="*/ 0 w 1090"/>
              <a:gd name="T1" fmla="*/ 0 h 425"/>
              <a:gd name="T2" fmla="*/ 0 w 1090"/>
              <a:gd name="T3" fmla="*/ 425 h 425"/>
              <a:gd name="T4" fmla="*/ 789 w 1090"/>
              <a:gd name="T5" fmla="*/ 425 h 425"/>
              <a:gd name="T6" fmla="*/ 1090 w 1090"/>
              <a:gd name="T7" fmla="*/ 123 h 425"/>
              <a:gd name="T8" fmla="*/ 1090 w 1090"/>
              <a:gd name="T9" fmla="*/ 122 h 425"/>
              <a:gd name="T10" fmla="*/ 1065 w 1090"/>
              <a:gd name="T11" fmla="*/ 0 h 425"/>
              <a:gd name="T12" fmla="*/ 0 w 1090"/>
              <a:gd name="T13" fmla="*/ 0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90" h="425">
                <a:moveTo>
                  <a:pt x="0" y="0"/>
                </a:moveTo>
                <a:cubicBezTo>
                  <a:pt x="0" y="425"/>
                  <a:pt x="0" y="425"/>
                  <a:pt x="0" y="425"/>
                </a:cubicBezTo>
                <a:cubicBezTo>
                  <a:pt x="789" y="425"/>
                  <a:pt x="789" y="425"/>
                  <a:pt x="789" y="425"/>
                </a:cubicBezTo>
                <a:cubicBezTo>
                  <a:pt x="789" y="425"/>
                  <a:pt x="1090" y="425"/>
                  <a:pt x="1090" y="123"/>
                </a:cubicBezTo>
                <a:cubicBezTo>
                  <a:pt x="1090" y="122"/>
                  <a:pt x="1090" y="122"/>
                  <a:pt x="1090" y="122"/>
                </a:cubicBezTo>
                <a:cubicBezTo>
                  <a:pt x="1090" y="122"/>
                  <a:pt x="1090" y="65"/>
                  <a:pt x="1065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7F4F4"/>
          </a:solidFill>
          <a:ln>
            <a:noFill/>
          </a:ln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AA03BB-599C-47B5-9321-D63D52FA2133}"/>
              </a:ext>
            </a:extLst>
          </p:cNvPr>
          <p:cNvGrpSpPr/>
          <p:nvPr userDrawn="1"/>
        </p:nvGrpSpPr>
        <p:grpSpPr bwMode="gray">
          <a:xfrm>
            <a:off x="0" y="0"/>
            <a:ext cx="9144000" cy="3724236"/>
            <a:chOff x="0" y="0"/>
            <a:chExt cx="9144000" cy="3724236"/>
          </a:xfrm>
          <a:solidFill>
            <a:srgbClr val="0036A1"/>
          </a:solidFill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72D847-002F-4800-8BFF-4B54D1585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963961" y="0"/>
              <a:ext cx="3180039" cy="3231867"/>
            </a:xfrm>
            <a:custGeom>
              <a:avLst/>
              <a:gdLst>
                <a:gd name="T0" fmla="*/ 276 w 420"/>
                <a:gd name="T1" fmla="*/ 0 h 425"/>
                <a:gd name="T2" fmla="*/ 301 w 420"/>
                <a:gd name="T3" fmla="*/ 122 h 425"/>
                <a:gd name="T4" fmla="*/ 301 w 420"/>
                <a:gd name="T5" fmla="*/ 123 h 425"/>
                <a:gd name="T6" fmla="*/ 0 w 420"/>
                <a:gd name="T7" fmla="*/ 425 h 425"/>
                <a:gd name="T8" fmla="*/ 420 w 420"/>
                <a:gd name="T9" fmla="*/ 425 h 425"/>
                <a:gd name="T10" fmla="*/ 420 w 420"/>
                <a:gd name="T11" fmla="*/ 0 h 425"/>
                <a:gd name="T12" fmla="*/ 276 w 42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0" h="425">
                  <a:moveTo>
                    <a:pt x="276" y="0"/>
                  </a:moveTo>
                  <a:cubicBezTo>
                    <a:pt x="301" y="65"/>
                    <a:pt x="301" y="122"/>
                    <a:pt x="301" y="122"/>
                  </a:cubicBezTo>
                  <a:cubicBezTo>
                    <a:pt x="301" y="123"/>
                    <a:pt x="301" y="123"/>
                    <a:pt x="301" y="123"/>
                  </a:cubicBezTo>
                  <a:cubicBezTo>
                    <a:pt x="301" y="419"/>
                    <a:pt x="11" y="424"/>
                    <a:pt x="0" y="425"/>
                  </a:cubicBezTo>
                  <a:cubicBezTo>
                    <a:pt x="420" y="425"/>
                    <a:pt x="420" y="425"/>
                    <a:pt x="420" y="425"/>
                  </a:cubicBezTo>
                  <a:cubicBezTo>
                    <a:pt x="420" y="0"/>
                    <a:pt x="420" y="0"/>
                    <a:pt x="420" y="0"/>
                  </a:cubicBezTo>
                  <a:lnTo>
                    <a:pt x="276" y="0"/>
                  </a:lnTo>
                  <a:close/>
                </a:path>
              </a:pathLst>
            </a:custGeom>
            <a:solidFill>
              <a:srgbClr val="1971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9BB72E-01EE-4687-AA34-CF821069FA4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3231867"/>
              <a:ext cx="1088395" cy="492369"/>
            </a:xfrm>
            <a:custGeom>
              <a:avLst/>
              <a:gdLst>
                <a:gd name="T0" fmla="*/ 0 w 144"/>
                <a:gd name="T1" fmla="*/ 0 h 65"/>
                <a:gd name="T2" fmla="*/ 0 w 144"/>
                <a:gd name="T3" fmla="*/ 65 h 65"/>
                <a:gd name="T4" fmla="*/ 144 w 144"/>
                <a:gd name="T5" fmla="*/ 0 h 65"/>
                <a:gd name="T6" fmla="*/ 0 w 144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65">
                  <a:moveTo>
                    <a:pt x="0" y="0"/>
                  </a:moveTo>
                  <a:cubicBezTo>
                    <a:pt x="0" y="65"/>
                    <a:pt x="0" y="65"/>
                    <a:pt x="0" y="65"/>
                  </a:cubicBezTo>
                  <a:cubicBezTo>
                    <a:pt x="51" y="2"/>
                    <a:pt x="139" y="0"/>
                    <a:pt x="14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971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33375" y="315665"/>
            <a:ext cx="7027544" cy="830997"/>
          </a:xfrm>
        </p:spPr>
        <p:txBody>
          <a:bodyPr>
            <a:noAutofit/>
          </a:bodyPr>
          <a:lstStyle>
            <a:lvl1pPr>
              <a:defRPr sz="5200">
                <a:solidFill>
                  <a:schemeClr val="tx2"/>
                </a:solidFill>
              </a:defRPr>
            </a:lvl1pPr>
          </a:lstStyle>
          <a:p>
            <a:r>
              <a:rPr lang="nl-NL" noProof="0" dirty="0"/>
              <a:t>Een korte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3384" y="1100529"/>
            <a:ext cx="7028617" cy="503023"/>
          </a:xfrm>
        </p:spPr>
        <p:txBody>
          <a:bodyPr wrap="square">
            <a:noAutofit/>
          </a:bodyPr>
          <a:lstStyle>
            <a:lvl1pPr>
              <a:defRPr sz="3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4122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Hoofdstuk dia met afbeelding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B9FBBD-4888-4D6D-A2D4-AD842EBF9B94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0042E7E-E392-40B4-B3E8-C01B64EF79C9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206B65-DEAE-491E-9641-D78E82D475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713404-4274-4977-9E1B-970DBE7C84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C5FDBA-9F9B-4E62-B2C4-50812946D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F42B94-53EB-433F-ABDB-3525A1D8CF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0E30AA-966D-4C4B-A6DE-B3ADB3F610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4312BC-3CFC-45EC-8A9E-1F496AB8AB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51976E-9F08-4B76-B15E-C830C2CCBC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70F405-7F39-4991-A17E-C71B0478E1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A3515D-B87F-4FEE-8506-DE291FF4B5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543457-0118-450A-873A-1B0947E066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27B72A-5C86-4C2C-B0E6-524039F6EB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E01E9E8-3E1F-4533-B5E8-9C08506DC5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1AE32AF-00F6-4235-8A24-1FE886EBB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F001DE-C286-4D12-A9DE-09146962B1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3727F0-7F57-4D3D-8DF0-0B3ADA460D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9FE1C00-4E75-4E4A-BBAA-A35ACE8B93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6801C6A-C1B6-4518-8728-1890C7E915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77D5918-DCDB-499D-A7C4-5A443B554B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02BF13-6EBD-4CDC-931A-0CE8C1FB91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E396F8-DAD4-4EA8-A57D-4880717E26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BAA784-AF2D-4DEC-8E68-5B4A5618C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6A600A-6AF2-4C98-85D0-F598C1B33C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3A0906B-8E26-4B98-973B-1CD63BBC18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8F0EFB-0CC6-4B3E-B1EE-A7B58634F3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A21D1B7-E391-40C2-BB5E-73FFE33E00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15EBE2F-5BEE-4F72-93E3-96B363433F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2A1B44-D526-478D-88AE-D086C553C4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6E81D90-F6E8-4C85-93A7-6E3EE6F94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16DA5A-C777-418D-9C99-51536918CB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8908FC-0DCB-4735-B690-9572FC86F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BB6963D-77DB-4EF6-A88F-278724AA60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EABC85-E5A3-4B53-B66E-8FBEBBBC2F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0B37BF-B55E-4A7E-8AC9-9BB3CE1C35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2DBD34A-AE43-41FB-BBE1-7B3A75469F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F65149-EEE6-42B0-B4D1-7A9CA1DAE0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CCB56F-7E70-4274-A0BE-00D44DDCE4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952A57-D67C-4D59-B1FF-FCCEF28BAE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90B046-F7C6-4B71-A495-60C3CFED60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349A30-F2BF-4634-8D8E-2AEDB8AAC3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26F56A-DB30-4B5D-831B-3DEDCAE2D2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84CD0F-A18A-458B-B1C1-9CCCB1E170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31AB5A-8039-4408-BF8B-9A1E16C73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89BE72-9D40-4AFB-925A-C0D73702B90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F44CC5-6404-4F65-A349-1987D022E3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662691-4C23-494A-93F2-612969AC8A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AA1B4C-6EEF-471F-886B-C6C3547F99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3BE175-B072-4E4D-BFA8-4EA40C40B1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EAD880B-7A44-484E-8FFC-37ECF21D3E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8FF107-3ADA-404E-8AAF-D9DDCBD75F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BCCFF8-4286-474C-8F5B-6D2541F95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90C3FE-7128-4573-A0B3-76F327CBD2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C5CB01-4F58-4825-B444-4B5EAA83AF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9F0BAA8-65FD-4625-8298-2808EB6CEC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A358D7F-6EDE-49A6-85A5-32D47A24DD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125D16-2225-408B-8458-DD98068EF0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E45AA6-B1A4-4457-A44C-3F8E12BB50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041D2D-869B-4D09-A067-FAF5F2A6CA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7C716FE-A151-4D2F-99AE-92365BC46F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B4C050-0CDC-4D18-86D0-CC5B52A005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426B96-B49D-4E29-A85B-BD195480D8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6580C9-8B8F-4238-97BE-9F58DC3F35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20957FD-BB61-4755-89C6-D4B650F12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164D4C-524E-40F7-AB16-11561E05A8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6F1495-1F0C-4FCF-9812-14AEEFAD44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883674-1886-4AF3-B775-CD0C250EC9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6A721E-5BDC-43F9-A28B-98F8147B45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29F86D-37DF-4C1A-ADE4-C363ABC376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FFDCEC-AAD3-45A3-9B1A-C0C3370FCD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8EF156-3F85-4EE1-8D05-86531ED5C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9D12C3-2A8E-4886-B0D5-8508110091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B9C544-2028-4453-9F42-FC5F73FA5E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B73E31-30E0-4B5C-B3A8-C2771B9B9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33117A-2F08-4695-8F9E-711459DE9D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11BC6C-9F38-4FF9-8EFE-B0BA2DE5A3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17DB8A-AA1C-4B95-8605-6DA4FBEFC4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ADC7BC-CBE7-4085-AFDE-E1B5D5627A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06B253-6675-4136-87C1-411D1734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5C1CC8-FDA3-4027-B4C3-4B4A31485A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C9E998-D31F-4AB0-8A6F-449342F6B7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238E69F-F820-4371-A215-2E5F69BF05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8E6D6B6-9A93-42CA-BA7B-421F379A9D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5760661-AD62-4983-9729-8015731078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123E5A6-9166-4836-B7CD-B6463540EF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3F33263-2B5B-43AB-8A4A-5D3B3F841A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1EBE4B7-31C9-4569-9996-4A30AD0663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12CDA4-294B-46B8-A95B-552724AED464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DB6B80-B998-4F47-B82B-C5635342E8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6A06E8-F72F-4733-9585-7279895851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A5FEDE-B75E-458C-A850-27C253A6B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673A30-5A99-49F7-8BA4-4DC42977FD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CFDC45-A338-439B-9EA2-A0BC3B9337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845E863-6FE0-4775-BD44-673CC8648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85D0537-54F6-4C6E-9CAC-937B11E998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42B5211-8EEA-4A49-896A-3BDCE0D93F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8F58DE-C44D-45D2-B151-62FE9E25D7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0A344E-7A3B-4384-A07C-56FF65FE0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494678-3889-4464-9BCE-D3875318E5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B05373-3A92-462F-BE89-E73CFE009A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7C23271-8888-4A6E-B132-C84264CF92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A0072A-6604-4102-BCFE-D8FB212A4C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6B9566-2CD4-442E-9FD1-F4FBF10ED6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FE07F91-44BD-4456-848F-00BF951920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3F37D52-1801-45BB-B5BA-85E88AB87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D53B3E-EF7F-425E-96EA-7E3F755149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0A655E-799D-451C-B63C-F4020E0D08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4254099-5A1D-407B-992A-897F3826FF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B6D9E3-E438-4A8F-95D5-6867D07B5C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245CE44-D8F7-478B-A989-A791E628FD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0F0AC7-32A2-43A4-8044-48DABD4F1E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5DDCA3F-2AF4-4818-918B-6DD45592410F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F4DDB20-C3BB-44ED-AC71-6DBA0A714F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195E31-FF57-4FA4-8807-EFC5D59828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039AD3-14E3-47F9-9CFE-2D8C3C91FF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487E88-9B07-4D75-9F2F-AABD55B4C7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6854C1-559E-47D4-B380-80E506CC0C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9A28FB-A83A-4111-A560-9AB140BF57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CCCA65-0DD9-4275-91DD-BF71E731F0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C05AC8-B627-421D-8D90-BA2436A41D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647EC3-D311-4314-91CE-FF39CF3721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3EF1D6-10A8-46E7-9FEF-8193676588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109358-42DF-4055-98F6-2D8118DA83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986EEC-E00A-4789-938B-B898A2BDC5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4D787ED-D22C-4B0B-A0AC-3FE7DE362A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F0F4347-73B6-4021-9DA4-C8E59CEBCA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A6C3E7-737D-49A6-B8F5-DFD869AF56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DA72DF-5B88-4D53-9FEA-950107ADE0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1D7DCD-48DA-4800-BE6F-7EEFB93D98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8C8A65-AE96-4C01-BD8D-664364D7D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E32B07-03E5-4CF9-8C58-FC21E8FCD5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EBB052-5851-4A80-8E7A-E1038F8760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96B53F-2AD0-4CB4-857D-E47D97B64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63C3BC8-7672-4745-B1AF-F3BFB240D9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88EED68-3A53-402D-85A1-D561A40782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6C2606A-FFF4-45EF-8FD0-58E85773CBE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8F455D1-FF4C-4FBE-8B81-52A8CC201BB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F0FEC4-4494-48BE-9866-BAE92184E24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C82F7C2-3CB4-4174-8D08-2DC637D9C2C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E10977-8BF0-4C1E-932E-B3907F516DF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D21107-6C53-49A7-8BDD-7B413C9DD66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3D236E4-D5BF-4E59-A443-1FA7A8CFEAA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36BD56-7CEA-4955-B1E4-AA0F3AD2F71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7E00E2-3BA6-49E6-ABF6-55959E16D73F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65316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531" name="think-cell Slide" r:id="rId5" imgW="6350000" imgH="635000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006D4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6D47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1CB9A7-09FB-4184-B594-D2C5633DC10A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9D7DAB7-1B45-400A-8D0F-A717E9D705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442EDC-DD09-4FBC-B33C-FEDA9746579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ADCD38-01DF-47AD-985C-8E3E40F0150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984013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Programma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" name="Group 15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A6D6F4-72E7-4FF6-BB64-BAF898A5DC17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90ECC2-DA16-4907-8FD3-47A3937D0703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3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3A279B-F5F7-4966-8A0E-48C60A40AC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09CC2A-C342-4A16-BD83-E473BCC63D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63CFEAC-9337-4A86-A911-BC42DDE4A9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C27CAE-F1EF-4149-A92F-1E6C00F88F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CD3822-AB04-412D-97E2-FB23C69AFF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96F70D-EBDB-494B-892A-84A829249D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D1E26F-C6B1-4A08-8FFD-C62DD9D78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F033A5-F383-49C5-83CE-055C04377E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745B7E-F0AC-470D-B11C-046E4390F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CFD779D-F7DC-43B4-A56C-77EA379582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B4FFB0-7D37-468E-87A7-3C73DA21C5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A688C4-4DC9-461D-95F6-4CEAFCE7C6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9CBB97C-3069-48C4-B21D-E5E3E9E6E0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E31C73F-AF81-4195-AF7C-0A726B0ACA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965D5A-21EE-48D3-BE55-7686B3A085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2B6FE8-E9B9-457D-9984-80AE9BFFFA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F49293-46DD-456A-B61D-8F2D091117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A2147C-4CBB-4F0B-B80D-0593B85CCF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A2855C1-9D34-4DB0-AD1C-42751BD340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B21A99-3DC9-4E53-AD79-9134FB341F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A0B2EB-0677-4E7E-8CB5-F87CFF1C54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3A4ABC-59BC-4F3A-97F3-BF7BCDD344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978B7C-3F48-4708-856E-DDF832A5C7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4DD63A-2D1A-4936-A732-9370383AE9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61EC63-D08A-4565-B675-5F1386FA46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268298-67FF-415C-ADAD-324685DF8B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251CCAA-AB61-4B18-A48E-65753E65B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9DCBB01-758C-4E78-B0EC-8F9137CEF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2496AA-9125-48FE-B427-F479519732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3B8693-B866-485E-B2BC-6E6F82285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1D1D88-915A-4F19-81FC-6459138CA0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E5D869-6CF3-4BEE-AD35-4724C402C2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FC7362-F9D1-4109-AB73-7C1FF95170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85E50A-A41F-444B-A6B1-558F60D27D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FAF5D9-B7E3-4899-99F2-73265FE5D9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538E3D5-170D-4637-9158-32E8BC5A00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3DF5D4-93B3-4B01-BCE2-A56C50B0C2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5DB543E-E973-47FB-9D74-E7A51832F6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9E91B3A-6D46-48BC-868E-A954A2896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810306F-F308-4273-BD9B-9B25ABB38A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363285-B9D6-48F0-8AB6-0A9019512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DCA01A1-20C3-462B-AA2B-B7495989F7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ACEB98E-05C9-496C-840B-5179047540C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1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9ED72D-ED39-4216-BC2C-F2AAE4AC3A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F6CABA4-7EAD-4155-9668-2A9F904C91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9BA179-E325-4D32-9244-FEDAE5EF3C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AB7409-654A-4139-96DA-DD299C4630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FAB490-04FC-4236-AFAA-63BA8EBD5E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768BAD-2FE5-438A-84D3-2E455BBB77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37E8C2D-9D02-4004-8A62-E4712FFC42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7F133CE-D017-44BB-9047-CA51B73BE1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FAE6EF1-6428-4262-8F1B-D36F034340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A28D31-281B-49D6-8067-65C805BF9F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FE4587-B014-439B-8375-BB79CBE63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424A90-D448-45A4-A04E-31BA9D6F90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C02E2E-B570-438D-B5C1-C0BD9E9155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CA4C3C-0088-4DF9-A175-4580924606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F627A28-8715-431E-8FC7-ECEACB4A70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B26617-CC49-4D9C-86D6-3CF1087C39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FFB783-72F3-40B8-AAA6-F4B963B896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95C9A7-8075-4C94-B8C9-EFDCC8CF3B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8938B2-A890-4E6F-AB99-9ED0F625B5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219356A-E04C-4F05-A815-B339ED9203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FD7F43-71D7-4D84-8F0A-3A1CDF165B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805CE8-D8C3-4EBB-B6F0-8ED34E8FCD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75EF27-7B29-496A-B07A-08416A500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D63916-66E5-4C50-924F-519B3990BD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4A85C1-AFB6-437E-8FBD-EBE04E8C8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417D84-D7DC-463D-9CB7-5497BD3972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D7B2FA-0F64-452E-875F-A26786BDE7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9CF3A72-C7EA-4C50-9022-77DC5D107F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DB2D80F-7ACE-465A-8C0C-98511F4CEF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71D0EF-E7AD-448E-B357-510DEA9B49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A3314B-9796-478C-8F32-13206289A1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B800A5-FE2B-44EC-93FF-FCEE835670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396A140-EA6E-4D84-BBF7-5A4F7C994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9023D81-CE6A-4D0F-BA9B-E6C83E138C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D63079-0454-45AD-8143-CB0480DA00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5AD2F5-DF1B-4D49-ABE4-458386A034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2F63EE-0A5B-4666-B9F6-9AB574C4DC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BA15B2-E7CC-4331-8530-D11777DA79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4701F59-DB92-4414-840A-E790DF7A24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2BDA3C-86FB-4229-8531-D7E05826E1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40E7AFF-5B76-489A-9179-329947BDB2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26D0F1-2DDB-4712-854A-1D951E4035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79B94D-E842-4950-AE29-D0C83F096C69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8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FC8CA52-2207-43A9-A660-8C4EEC714E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AFC050-1F7A-43AB-9E07-5193A7C879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0645BC-A2EC-4FFC-9FDA-84379E923D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1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A1D95B6-B1CF-4D42-9893-C896C4F806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B07819-1CE2-479F-87E0-7987598F02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1CB9A8-BC78-49EC-83B6-1797FD6774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D8EAE1C-DF5F-4CC1-A989-4CC36C7DED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337257-46A0-41DE-9104-64411243F9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8201AE-8079-4E27-82AF-BC0856F0CA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FE6B2B-E194-4546-9FA9-04408E7CF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72F8EC1-6CCC-4193-B74B-B6988C622B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504F20-E8DB-4313-93AB-D9110DB55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451669A-8603-4AE9-BC0E-B61E23C387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17884A-065C-4F5B-9F53-2AE713A8F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9BD134-7949-4511-9F11-876945E7C6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353439-FA7A-42FC-9CFC-24F150267B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8E2A33-0F60-4E3C-9A1E-53C3D26344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90933E-74E1-4E61-ACFA-E50C1D41D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83AC6B-5284-4507-977D-20F0BC3C22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C7B727-1B28-4CB3-9CF7-CD3A35CE25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99472D4-4F90-4287-9122-6683817288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BFE3A84-2974-4F46-B3E9-FEE060D08B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643094F-6E69-44D7-80A9-352BA8077B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2C1E03-044A-479F-A0C7-9EBE6B059B1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5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3E4F89-984A-4D45-9373-D5799EB791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635A05-E936-4C39-A710-AC25848242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F1FC93C-907C-4D22-9B68-CD258D7C0D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0A30FBB-C973-4DEC-B040-63246AA4B5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9C3220-7907-4634-BABC-85F9A605BE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546AA1-8F3F-424E-8167-07CA263165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9CEC97F-B125-4E35-9D49-A747045CEA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F54B025-70DA-489D-8AE5-7E4318B030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597708-7066-4F27-BBCD-E6D0A4B4D3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911BA3-21F7-47F2-89BD-7108A3EF57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90588E-2B7C-4FD0-8287-C6EC6215B0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4D33CF-9DC5-41B3-B3CD-B56DC86AE6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DEE4EA-BF60-456C-B32C-5DADA7E7E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4F014B-5FE5-46A0-88E2-562F175D16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3D08A3-A0B6-48E6-A9BA-BCFFD5E628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258AF6-6C8E-47EB-AEEE-4E9462901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603419F-F7FF-4BD4-902A-15D0B90D17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174483-4524-4C3A-9C90-815B4D3823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845542-BAA1-4094-97CE-3ECF00A822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7CDACB-1129-4638-A409-83C68E67D4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45C108-6051-4B10-B247-B2B82217F8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CC27D0-8E6B-4265-A273-0043725FF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A0156D-8682-4E48-90DF-26147145C5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7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C4BA5C2-90BC-46EB-BF58-F7355EB70C0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1FD4A3-4419-4B2A-B889-6E5071BEF25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00DDE0-436B-40A7-B511-D80DF711CE2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8B55F5E-81EB-4E60-ACCF-176DFE426A2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1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F1779C-E607-4373-AB8D-BF6B1B2B530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8AD6ABD-4134-4D08-9655-A53CB895FDB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6540565-16CE-4471-8C0B-6755CD314D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13C66B-DFBA-4C63-A4C8-79EE9674C9B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1" name="Rectangle 15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C84573-66E1-4FAD-8BD7-7BFB0D87C4FA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18B4DB-F6AC-481E-90D8-2767D03EDEE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5" y="3820909"/>
            <a:ext cx="8496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A375623-B8B8-4DFB-93B8-47D871C590C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5" y="1209199"/>
            <a:ext cx="8496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10EBF1-9462-46EE-853C-73250FBD1F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4465" y="1862127"/>
            <a:ext cx="8496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D6F7BAE-6891-4D73-9360-E26C81A38CA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65" y="2515055"/>
            <a:ext cx="8496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044F35-AD61-45E9-BFD6-79C27C9B668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24465" y="3167983"/>
            <a:ext cx="8496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55CCC6-3616-42D4-A2FC-D8B4D5660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  <a:endParaRPr lang="nl-NL" noProof="0" dirty="0"/>
          </a:p>
        </p:txBody>
      </p:sp>
      <p:pic>
        <p:nvPicPr>
          <p:cNvPr id="295" name="Picture 29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D4A68F-49BF-42E6-BFAF-88A2ACAE92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87694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Programma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" name="Group 16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C7F746-B99F-40A2-AD57-9140428319ED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360095F-509E-463F-B43A-EF1A7711C7F5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63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472680-30A9-4616-8D5B-1AA9450662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F36D3F-2596-40FB-980C-6AD48A4B20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E439F0-7406-497B-B6B8-4C1616A32D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7C0D81-D020-4A60-97BF-02BCC9B17C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4FB7FC-03F8-4C6A-9574-D1BFE201E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8DC9FE-632F-4494-B83E-6E6CACA7D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8F106BD-1036-4C76-AA4D-19CDB25BE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097BA1-9E0B-4E26-A152-F1DBE27EC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AF1266D-7F7A-47E5-B9C9-8D45864488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DE5FE12-85CF-4AF6-81A7-DFFAA8219C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357C48-4D0D-487E-9770-B44E67FB56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09BE5E-14A5-4F2A-897B-22730FCDBF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5C5639-9773-400E-AC6C-1BCC2DBEC0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66365A-48DB-4CCF-A9C0-5F20D494A7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785787-8031-40C1-84EE-1149661194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415889-7D4C-43B8-B646-C637019D2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633AE0-F4F3-4DAB-8AE5-8B5820801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77ECF1-616C-4B33-BD50-54F36B56C0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66E7BA-CD8D-47A5-A5A0-70208E0F31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6382C1-1BED-4F61-9B69-0D5E7DE74B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743618-8F97-496E-95F7-54B03D9D85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1C9AFE-AF67-4C95-90A3-9D2B5150B8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94D569-ACB3-4755-B290-BC30693191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0F96CBE-FB6A-4C8C-90A4-3196683FA6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A5C5B7-E77A-45D5-B005-A4C120F484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D12B806-AF97-4D5F-902A-F7CF843290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65F61F-B321-45AD-9869-CD61DF8589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BBEEDA-8FE2-4C5F-ABC6-A1B0B598CB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B4E30C2-FB50-4613-BD20-92EDC4BD3A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32BE09-77E9-4654-881E-8055C105E4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C62239-A866-496F-A1C6-5A795597C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68A724-7F4F-4E94-B69C-7578F1E1B0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6D4BF8-CFCE-4745-B837-2934BB4C1A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C053EFE-1D83-435E-A4EE-6BE469707F5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495888-A976-4B26-9E77-D622B32DA9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CA0F8B-6D64-4B20-AA77-33452D24A9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33D39C-E03D-4D7A-A8B3-430B244153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0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A3F1E1B-46CA-4778-A828-5BE5BAB512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1D8E1A-6885-4C16-BBD8-1515F1E962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2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2530039-095F-49B9-8F5F-3D2CA8DF77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FCB00D-D7C8-4C22-9F9B-A01C1F0A8B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4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A89E442-9410-49FC-AD0C-CA4B17A3AB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4850D8-92BD-4EE4-A246-753DEBA5B2C4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21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DAE532-E0D7-46ED-B110-0C309BF659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97613E4-D60C-42E7-B84F-5720E10CA1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9B7472-92BB-47B5-A963-8304A0F2DE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9B4DE2-3A27-46FA-841B-4F08AAC006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7CD3F55-DCED-4BC4-B181-6ACC7D899E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7E4DEE-D6BC-4A7E-99A6-038898731A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0B05B6D-356D-4EA2-8E4D-9CC7A53FC6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224E711-914B-460A-8C28-8C77A9878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FE55354-8D64-4966-BDF3-9C68269B4A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D88AA6-00D5-47B3-9955-E0DF74F65D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EE8A24D-293C-4F24-8DFA-18D10D6E4D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58A4A6-F7A3-4344-9499-E3EFCE8DE6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66C147F-FA93-4CA4-9BDA-D2C531ADCA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960618-FB25-41B6-80C8-8E904F713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C3324D-DE35-4640-95E8-A40E416328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2FE8670-79A8-4074-ACD3-33FED9B085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35BB13-93AB-4401-A7E6-D90832D6D6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9A0EF2-2524-4BB4-8783-80448D59B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A9E170-D89A-4C01-B2CD-31F7EBF86F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8CA930-2A6A-46B1-BC85-B15BB5AEF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185122-AA25-48DB-A536-BA22E29F6E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984725-A3BD-4860-A4CE-0F510874B9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167980-7CE0-4FF4-A61A-D811A663D0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66DEFD-A95B-4BF8-B7DD-8B437C4481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CF44D68-E540-4177-9883-978DC777D5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42A842-6B79-44A2-862C-EDAD5ACE3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B4CF36-65A4-460C-BE1C-EB0360E97A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934358-8CFA-4AFB-B2C9-EDAE3232FD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0DD74A-6ED1-409A-A66D-B2C3234CFF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DAE05A-01C5-4CBC-8ADA-B28206CE9F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5196E2-70D8-4D0E-AEA8-C27C9833A5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35065CB-0019-4CFE-AAA3-FA88373B53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7C043E-61FD-46F6-A831-82B9E520AF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1E72AA4-16D0-404B-B1A0-D2799D4A77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5437F1-05CE-475F-AC44-2D5BF58182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83C84D3-AA94-4732-8F64-6215A0E6FD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695F59-ACC7-4E26-B726-633962DE81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B8EE63-5956-4F62-B912-7BB6E10B0B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9EB05B-D530-492A-896C-AA89B4C09D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80B870E-E657-4D09-B068-6AB64754E5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2F33FE-F7FE-48BC-87CA-B654EEA51A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994A86B-6E21-4B3D-9C05-702914AEB6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865ED0-6920-44E6-825E-D8BF1926AF2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8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2BCDD3-218E-40E1-B460-89F63BFAC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9AB7D7-E799-43BF-815B-312214FE31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7AAA51-13EC-46DD-937E-9D1351AF1B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201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42E5FA-2AB4-4211-A143-07534AD98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D3BB99-3A04-4EF2-94CE-4C933EA5F9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AFD1575-6727-4A9E-A28E-AC5145CB5B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D70ED5-00BE-4C31-AE18-B2658C1B2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BADF95-8760-40BA-8680-1CCF409D8F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8D2128-DD22-4BA1-B516-635BC614D7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DFB897-163A-4C0E-9F81-958FC0F1D6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92CCE1-8C0E-4ADF-9696-39D2513F64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1DDA35-21A4-476A-A7C8-74A4960CEB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47F641-AA30-4104-A95C-2D177EE9BB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A5C753-EECC-4633-8EC3-64DF601E52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D12FE01-C2CB-4578-88BE-5ACCD7FE08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89D925-019E-4683-B615-AB58B17FCE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E0DF3D-C914-4F9A-8865-BE6586461D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659ED77-DCFE-4D8B-ABE5-69FCC09E0A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1FB3A0-84AE-4695-A5EE-CF1BEE9D47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BB91FAE-B244-40F0-8B9D-956FE30218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BC32F8-A660-4D26-9AEE-1F772178E4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903D7E-1FEC-47CD-AEBE-5535F5465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48FCC9-208E-402D-BA21-026385E1C9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DDF4A7A-4E30-4728-94F0-FE2374935433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75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D86409-2EE7-4B00-AFF7-579D9B403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2BA580-D3CA-4AB3-BDB7-48B87BF531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0B42080-80BA-4099-9236-B327A36550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26DC9F0-9212-4E80-9DAB-ABF3061227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2E1D34B-4AA3-4743-9354-E6C6783311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056F38-1392-40EF-8741-DB132F8890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4F2FAE-BABC-49E8-8B9A-C241F0ADCA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5FD8040-2539-4C75-BC70-40453D74AD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ABEB3A3-6123-46B9-8444-DA55EB43D8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E35ADD-7BA4-41CA-84C0-B96FE2AAC5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47E3C9-28F5-4135-96C2-C90CAD8AA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2D8F2C-68BD-495E-A5BE-BB08FEFCA0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62A1A65-3E9C-416F-8BB6-F18FC65F79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7C0D65-3BA8-4618-B761-F86CE62FFC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32AF5D-69D7-4C1F-AB5A-D17D8DC69B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8476AB-6408-41ED-91FB-16DA276673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5146F0-B0DB-4BC9-B053-DFB66AAB9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7CE5AB-0FB8-44A2-BDB4-DFA5286F24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65524E1-F296-4085-9334-7B58766039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EEE1FC-235E-4A5A-B43F-B7F7FA517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23FEFD4-341D-436D-A835-3529D60B20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544334-0033-4381-9B22-CA3D8FDD80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8AE6B81-53C5-4B4C-8594-23B0C38946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7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6D8DBB-F2EF-4B2A-9F89-6E5086E94B7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D93E83A-1BCE-4C38-B551-4599E387FE7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9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4DE278-BB1C-43F5-BC79-C8510861E1E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0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FB33DF-E88F-4295-B04D-6DED1FA8F13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71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C0F63D-5EAB-47A9-9698-02284D3DD5C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2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367350-1D0E-4390-9D7F-4E249D30F70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3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2ED082A-B1BB-453B-85B7-44C60E36D72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74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72F21D-CC20-4935-99A2-367BBAFDACD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61" name="Rectangle 16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54F18D-CDE4-4960-88A3-80441AAEA20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C9B52F1-4EF7-4659-92B2-E815C2E922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5" y="3820909"/>
            <a:ext cx="2212975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1568B23-2831-4BEC-BA0D-62D68258C6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5" y="1209199"/>
            <a:ext cx="2212975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84A493-7599-48BB-97DC-DC96DBB6323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4465" y="1862127"/>
            <a:ext cx="2212975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376562-828D-4ABD-9844-1B9B9405010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4465" y="2515055"/>
            <a:ext cx="2212975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1E452E-2647-467B-94FE-48AA698D230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24465" y="3167983"/>
            <a:ext cx="2212975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40646BF-1976-4B22-8A08-6FD786D4348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627535" y="3820909"/>
            <a:ext cx="6192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4630CB-2526-4BD1-97C3-C9AEA0EF3D8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27535" y="1209199"/>
            <a:ext cx="6192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45D8F2-2D2C-4BC6-9919-A54B22E5414E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2627535" y="1862127"/>
            <a:ext cx="6192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FD1C9D-CF2C-46B2-AF96-6D945ED4110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27535" y="2515055"/>
            <a:ext cx="6192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2AA4D0-0215-4789-A531-7BC8EDA677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627535" y="3167983"/>
            <a:ext cx="6192000" cy="504000"/>
          </a:xfrm>
          <a:prstGeom prst="rect">
            <a:avLst/>
          </a:prstGeom>
          <a:solidFill>
            <a:srgbClr val="006D47"/>
          </a:solidFill>
        </p:spPr>
        <p:txBody>
          <a:bodyPr lIns="108000" anchor="ctr" anchorCtr="0"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D401E5-87A9-4FDC-8894-2252C5586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pic>
        <p:nvPicPr>
          <p:cNvPr id="160" name="Picture 15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C891BB-6ADD-435D-9B6E-FD4865EBDE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717254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Één kolom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A55526-4790-4D3D-AD3D-7B7B48C7DD37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849507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D51E667-F178-4FC4-BC78-17258BAD014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13718F-01F2-42FA-8BC0-FA027F8C1B4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477B118-C513-4EDA-8AD0-8A30932F0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93271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Één kolom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AABE08A-C1E9-46C8-BA96-622AF3E01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79B5A2-F0F0-4BDA-88E1-B9A33674178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DCBC33-C067-4884-8680-327480CC5EC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CFCBBB-51D7-4F3E-91FE-80DBA1D5E59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679153"/>
            <a:ext cx="8495070" cy="26604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A789D8-FA0A-4300-9736-9F1215FEFA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4464" y="1225552"/>
            <a:ext cx="849507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01882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ee kolommen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DB10FA-6BC0-4949-A894-6B870D7F4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55FA086-5D3C-4AB7-9F57-C26DCDF1C35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99E1422-8E55-405F-AAA8-BBC4234FCB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AE2B101-E2E6-46BA-9473-9FFC8D1D6E9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0E714B-1DFA-4E5D-81E1-EA5E9D394DB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70473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624870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wee kolommen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2DEB3C-AB51-43B8-B75F-DBF157BAA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4A4ABD-D56A-466A-8CD6-A9C7284230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1B63322-FC94-454B-AB34-E222790763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CDDD50-D27A-4B0B-A7DC-4CF5BB9C4C0A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704735" y="1678431"/>
            <a:ext cx="4114800" cy="26611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28E33C0-B237-4BC7-967B-040BCCCB3ED1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324465" y="1678431"/>
            <a:ext cx="4114800" cy="266112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1AE5AD-B454-4F7C-8881-6F8212B15E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24464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211619F-AC0F-4AE3-9637-E9BFAD14792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4735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154443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ekst met grafie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E8CEA2E-AFB5-46FC-899D-3CC2EC3C7F9C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4704735" y="1679153"/>
            <a:ext cx="4114800" cy="2660400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nl-NL"/>
              <a:t>Klik op het pictogram als u een grafiek wilt toevoegen</a:t>
            </a:r>
            <a:endParaRPr lang="nl-NL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37159DB-0009-4B01-83F5-A9C312119D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29BA51-5114-4ADF-A37E-87C16F4191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4FE292-1BA7-4BD0-B30E-418C0E28671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5BE77E-F6E4-4CC8-8D09-BAD3F3F6247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1B52F7-87BA-4992-B079-C71EE6A10E1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04735" y="1225552"/>
            <a:ext cx="4114800" cy="285078"/>
          </a:xfrm>
          <a:custGeom>
            <a:avLst/>
            <a:gdLst>
              <a:gd name="connsiteX0" fmla="*/ 0 w 8495070"/>
              <a:gd name="connsiteY0" fmla="*/ 0 h 285078"/>
              <a:gd name="connsiteX1" fmla="*/ 8495070 w 8495070"/>
              <a:gd name="connsiteY1" fmla="*/ 0 h 285078"/>
              <a:gd name="connsiteX2" fmla="*/ 8495070 w 8495070"/>
              <a:gd name="connsiteY2" fmla="*/ 285078 h 285078"/>
              <a:gd name="connsiteX3" fmla="*/ 0 w 8495070"/>
              <a:gd name="connsiteY3" fmla="*/ 285078 h 28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5070" h="285078">
                <a:moveTo>
                  <a:pt x="0" y="0"/>
                </a:moveTo>
                <a:lnTo>
                  <a:pt x="8495070" y="0"/>
                </a:lnTo>
                <a:lnTo>
                  <a:pt x="8495070" y="285078"/>
                </a:lnTo>
                <a:lnTo>
                  <a:pt x="0" y="28507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700" b="1"/>
            </a:lvl1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990121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Eén kolom tekst met grijs tekst block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83DC019-F317-4DBE-8BAD-A8E0F14C59C9}"/>
              </a:ext>
            </a:extLst>
          </p:cNvPr>
          <p:cNvSpPr/>
          <p:nvPr userDrawn="1"/>
        </p:nvSpPr>
        <p:spPr>
          <a:xfrm>
            <a:off x="6000750" y="0"/>
            <a:ext cx="3143250" cy="5143500"/>
          </a:xfrm>
          <a:prstGeom prst="rect">
            <a:avLst/>
          </a:prstGeom>
          <a:solidFill>
            <a:srgbClr val="F7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EE02A6-D770-4B80-BFEA-346F458E8B7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32220" y="231279"/>
            <a:ext cx="2487315" cy="4093629"/>
          </a:xfrm>
        </p:spPr>
        <p:txBody>
          <a:bodyPr tIns="90000">
            <a:noAutofit/>
          </a:bodyPr>
          <a:lstStyle>
            <a:lvl1pPr>
              <a:lnSpc>
                <a:spcPct val="100000"/>
              </a:lnSpc>
              <a:spcAft>
                <a:spcPts val="2450"/>
              </a:spcAft>
              <a:defRPr sz="1400" b="1"/>
            </a:lvl1pPr>
            <a:lvl2pPr marL="182563" indent="-182563">
              <a:lnSpc>
                <a:spcPct val="100000"/>
              </a:lnSpc>
              <a:spcAft>
                <a:spcPts val="640"/>
              </a:spcAft>
              <a:defRPr sz="1400"/>
            </a:lvl2pPr>
            <a:lvl3pPr marL="182563" indent="-182563">
              <a:lnSpc>
                <a:spcPct val="100000"/>
              </a:lnSpc>
              <a:spcAft>
                <a:spcPts val="640"/>
              </a:spcAft>
              <a:defRPr sz="1400"/>
            </a:lvl3pPr>
            <a:lvl4pPr marL="182563" indent="-182563">
              <a:lnSpc>
                <a:spcPct val="100000"/>
              </a:lnSpc>
              <a:spcAft>
                <a:spcPts val="640"/>
              </a:spcAft>
              <a:defRPr sz="1400"/>
            </a:lvl4pPr>
            <a:lvl5pPr marL="182563" indent="-182563">
              <a:lnSpc>
                <a:spcPct val="100000"/>
              </a:lnSpc>
              <a:spcAft>
                <a:spcPts val="640"/>
              </a:spcAft>
              <a:defRPr sz="1400"/>
            </a:lvl5pPr>
            <a:lvl6pPr marL="182563" indent="-182563">
              <a:lnSpc>
                <a:spcPct val="100000"/>
              </a:lnSpc>
              <a:spcAft>
                <a:spcPts val="640"/>
              </a:spcAft>
              <a:defRPr sz="1400"/>
            </a:lvl6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F8B9BB-ED10-484A-82E9-4185D709A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5421015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AEDFAC-FFCE-4C92-991A-5F5F0DDDBF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82AFFC-FECF-480B-9A4A-8AF29377C67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DC975F1-C8F1-47FA-A6DD-8BDABAB9AC53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4465" y="1225553"/>
            <a:ext cx="54216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591402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1_Twee kolommen tekst en afbeeldin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F8859C-A78F-49CC-83B9-712C5B8D33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00750" y="0"/>
            <a:ext cx="3143250" cy="4324909"/>
          </a:xfrm>
          <a:custGeom>
            <a:avLst/>
            <a:gdLst>
              <a:gd name="connsiteX0" fmla="*/ 0 w 3143250"/>
              <a:gd name="connsiteY0" fmla="*/ 0 h 4324909"/>
              <a:gd name="connsiteX1" fmla="*/ 3143250 w 3143250"/>
              <a:gd name="connsiteY1" fmla="*/ 0 h 4324909"/>
              <a:gd name="connsiteX2" fmla="*/ 3143250 w 3143250"/>
              <a:gd name="connsiteY2" fmla="*/ 30722 h 4324909"/>
              <a:gd name="connsiteX3" fmla="*/ 3143250 w 3143250"/>
              <a:gd name="connsiteY3" fmla="*/ 420852 h 4324909"/>
              <a:gd name="connsiteX4" fmla="*/ 3143250 w 3143250"/>
              <a:gd name="connsiteY4" fmla="*/ 786607 h 4324909"/>
              <a:gd name="connsiteX5" fmla="*/ 3143250 w 3143250"/>
              <a:gd name="connsiteY5" fmla="*/ 987278 h 4324909"/>
              <a:gd name="connsiteX6" fmla="*/ 3143250 w 3143250"/>
              <a:gd name="connsiteY6" fmla="*/ 1128774 h 4324909"/>
              <a:gd name="connsiteX7" fmla="*/ 3143250 w 3143250"/>
              <a:gd name="connsiteY7" fmla="*/ 1448139 h 4324909"/>
              <a:gd name="connsiteX8" fmla="*/ 3143250 w 3143250"/>
              <a:gd name="connsiteY8" fmla="*/ 1745487 h 4324909"/>
              <a:gd name="connsiteX9" fmla="*/ 3143250 w 3143250"/>
              <a:gd name="connsiteY9" fmla="*/ 2021606 h 4324909"/>
              <a:gd name="connsiteX10" fmla="*/ 3143250 w 3143250"/>
              <a:gd name="connsiteY10" fmla="*/ 2277281 h 4324909"/>
              <a:gd name="connsiteX11" fmla="*/ 3143250 w 3143250"/>
              <a:gd name="connsiteY11" fmla="*/ 2513299 h 4324909"/>
              <a:gd name="connsiteX12" fmla="*/ 3143250 w 3143250"/>
              <a:gd name="connsiteY12" fmla="*/ 2730445 h 4324909"/>
              <a:gd name="connsiteX13" fmla="*/ 3143250 w 3143250"/>
              <a:gd name="connsiteY13" fmla="*/ 2929508 h 4324909"/>
              <a:gd name="connsiteX14" fmla="*/ 3143250 w 3143250"/>
              <a:gd name="connsiteY14" fmla="*/ 3111272 h 4324909"/>
              <a:gd name="connsiteX15" fmla="*/ 3143250 w 3143250"/>
              <a:gd name="connsiteY15" fmla="*/ 3276523 h 4324909"/>
              <a:gd name="connsiteX16" fmla="*/ 3143250 w 3143250"/>
              <a:gd name="connsiteY16" fmla="*/ 3426049 h 4324909"/>
              <a:gd name="connsiteX17" fmla="*/ 3143250 w 3143250"/>
              <a:gd name="connsiteY17" fmla="*/ 3560636 h 4324909"/>
              <a:gd name="connsiteX18" fmla="*/ 3143250 w 3143250"/>
              <a:gd name="connsiteY18" fmla="*/ 3681069 h 4324909"/>
              <a:gd name="connsiteX19" fmla="*/ 3143250 w 3143250"/>
              <a:gd name="connsiteY19" fmla="*/ 3788136 h 4324909"/>
              <a:gd name="connsiteX20" fmla="*/ 3143250 w 3143250"/>
              <a:gd name="connsiteY20" fmla="*/ 3882621 h 4324909"/>
              <a:gd name="connsiteX21" fmla="*/ 3143250 w 3143250"/>
              <a:gd name="connsiteY21" fmla="*/ 3965313 h 4324909"/>
              <a:gd name="connsiteX22" fmla="*/ 3143250 w 3143250"/>
              <a:gd name="connsiteY22" fmla="*/ 4036996 h 4324909"/>
              <a:gd name="connsiteX23" fmla="*/ 3143250 w 3143250"/>
              <a:gd name="connsiteY23" fmla="*/ 4098458 h 4324909"/>
              <a:gd name="connsiteX24" fmla="*/ 3143250 w 3143250"/>
              <a:gd name="connsiteY24" fmla="*/ 4193861 h 4324909"/>
              <a:gd name="connsiteX25" fmla="*/ 3143250 w 3143250"/>
              <a:gd name="connsiteY25" fmla="*/ 4257813 h 4324909"/>
              <a:gd name="connsiteX26" fmla="*/ 3143250 w 3143250"/>
              <a:gd name="connsiteY26" fmla="*/ 4296603 h 4324909"/>
              <a:gd name="connsiteX27" fmla="*/ 3143250 w 3143250"/>
              <a:gd name="connsiteY27" fmla="*/ 4316522 h 4324909"/>
              <a:gd name="connsiteX28" fmla="*/ 3143250 w 3143250"/>
              <a:gd name="connsiteY28" fmla="*/ 4323861 h 4324909"/>
              <a:gd name="connsiteX29" fmla="*/ 3143250 w 3143250"/>
              <a:gd name="connsiteY29" fmla="*/ 4324909 h 4324909"/>
              <a:gd name="connsiteX30" fmla="*/ 2967203 w 3143250"/>
              <a:gd name="connsiteY30" fmla="*/ 4324909 h 4324909"/>
              <a:gd name="connsiteX31" fmla="*/ 2813131 w 3143250"/>
              <a:gd name="connsiteY31" fmla="*/ 4324909 h 4324909"/>
              <a:gd name="connsiteX32" fmla="*/ 2679569 w 3143250"/>
              <a:gd name="connsiteY32" fmla="*/ 4324909 h 4324909"/>
              <a:gd name="connsiteX33" fmla="*/ 2565053 w 3143250"/>
              <a:gd name="connsiteY33" fmla="*/ 4324909 h 4324909"/>
              <a:gd name="connsiteX34" fmla="*/ 2468117 w 3143250"/>
              <a:gd name="connsiteY34" fmla="*/ 4324909 h 4324909"/>
              <a:gd name="connsiteX35" fmla="*/ 2387296 w 3143250"/>
              <a:gd name="connsiteY35" fmla="*/ 4324909 h 4324909"/>
              <a:gd name="connsiteX36" fmla="*/ 2321126 w 3143250"/>
              <a:gd name="connsiteY36" fmla="*/ 4324909 h 4324909"/>
              <a:gd name="connsiteX37" fmla="*/ 2268141 w 3143250"/>
              <a:gd name="connsiteY37" fmla="*/ 4324909 h 4324909"/>
              <a:gd name="connsiteX38" fmla="*/ 2226876 w 3143250"/>
              <a:gd name="connsiteY38" fmla="*/ 4324909 h 4324909"/>
              <a:gd name="connsiteX39" fmla="*/ 2195866 w 3143250"/>
              <a:gd name="connsiteY39" fmla="*/ 4324909 h 4324909"/>
              <a:gd name="connsiteX40" fmla="*/ 2173647 w 3143250"/>
              <a:gd name="connsiteY40" fmla="*/ 4324909 h 4324909"/>
              <a:gd name="connsiteX41" fmla="*/ 2158752 w 3143250"/>
              <a:gd name="connsiteY41" fmla="*/ 4324909 h 4324909"/>
              <a:gd name="connsiteX42" fmla="*/ 2145079 w 3143250"/>
              <a:gd name="connsiteY42" fmla="*/ 4324909 h 4324909"/>
              <a:gd name="connsiteX43" fmla="*/ 2143125 w 3143250"/>
              <a:gd name="connsiteY43" fmla="*/ 4324909 h 4324909"/>
              <a:gd name="connsiteX44" fmla="*/ 0 w 3143250"/>
              <a:gd name="connsiteY44" fmla="*/ 2092027 h 4324909"/>
              <a:gd name="connsiteX45" fmla="*/ 0 w 3143250"/>
              <a:gd name="connsiteY45" fmla="*/ 1904755 h 4324909"/>
              <a:gd name="connsiteX46" fmla="*/ 0 w 3143250"/>
              <a:gd name="connsiteY46" fmla="*/ 1729184 h 4324909"/>
              <a:gd name="connsiteX47" fmla="*/ 0 w 3143250"/>
              <a:gd name="connsiteY47" fmla="*/ 1564937 h 4324909"/>
              <a:gd name="connsiteX48" fmla="*/ 0 w 3143250"/>
              <a:gd name="connsiteY48" fmla="*/ 1411635 h 4324909"/>
              <a:gd name="connsiteX49" fmla="*/ 0 w 3143250"/>
              <a:gd name="connsiteY49" fmla="*/ 1268901 h 4324909"/>
              <a:gd name="connsiteX50" fmla="*/ 0 w 3143250"/>
              <a:gd name="connsiteY50" fmla="*/ 1136358 h 4324909"/>
              <a:gd name="connsiteX51" fmla="*/ 0 w 3143250"/>
              <a:gd name="connsiteY51" fmla="*/ 987278 h 4324909"/>
              <a:gd name="connsiteX52" fmla="*/ 0 w 3143250"/>
              <a:gd name="connsiteY52" fmla="*/ 900334 h 4324909"/>
              <a:gd name="connsiteX53" fmla="*/ 0 w 3143250"/>
              <a:gd name="connsiteY53" fmla="*/ 700545 h 4324909"/>
              <a:gd name="connsiteX54" fmla="*/ 0 w 3143250"/>
              <a:gd name="connsiteY54" fmla="*/ 533969 h 4324909"/>
              <a:gd name="connsiteX55" fmla="*/ 0 w 3143250"/>
              <a:gd name="connsiteY55" fmla="*/ 397589 h 4324909"/>
              <a:gd name="connsiteX56" fmla="*/ 0 w 3143250"/>
              <a:gd name="connsiteY56" fmla="*/ 288384 h 4324909"/>
              <a:gd name="connsiteX57" fmla="*/ 0 w 3143250"/>
              <a:gd name="connsiteY57" fmla="*/ 203335 h 4324909"/>
              <a:gd name="connsiteX58" fmla="*/ 0 w 3143250"/>
              <a:gd name="connsiteY58" fmla="*/ 139423 h 4324909"/>
              <a:gd name="connsiteX59" fmla="*/ 0 w 3143250"/>
              <a:gd name="connsiteY59" fmla="*/ 93627 h 4324909"/>
              <a:gd name="connsiteX60" fmla="*/ 0 w 3143250"/>
              <a:gd name="connsiteY60" fmla="*/ 62929 h 4324909"/>
              <a:gd name="connsiteX61" fmla="*/ 0 w 3143250"/>
              <a:gd name="connsiteY61" fmla="*/ 44309 h 4324909"/>
              <a:gd name="connsiteX62" fmla="*/ 0 w 3143250"/>
              <a:gd name="connsiteY62" fmla="*/ 34747 h 4324909"/>
              <a:gd name="connsiteX63" fmla="*/ 0 w 3143250"/>
              <a:gd name="connsiteY63" fmla="*/ 30722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143250" h="4324909">
                <a:moveTo>
                  <a:pt x="0" y="0"/>
                </a:moveTo>
                <a:lnTo>
                  <a:pt x="3143250" y="0"/>
                </a:lnTo>
                <a:lnTo>
                  <a:pt x="3143250" y="30722"/>
                </a:lnTo>
                <a:lnTo>
                  <a:pt x="3143250" y="420852"/>
                </a:lnTo>
                <a:lnTo>
                  <a:pt x="3143250" y="786607"/>
                </a:lnTo>
                <a:lnTo>
                  <a:pt x="3143250" y="987278"/>
                </a:lnTo>
                <a:lnTo>
                  <a:pt x="3143250" y="1128774"/>
                </a:lnTo>
                <a:lnTo>
                  <a:pt x="3143250" y="1448139"/>
                </a:lnTo>
                <a:lnTo>
                  <a:pt x="3143250" y="1745487"/>
                </a:lnTo>
                <a:lnTo>
                  <a:pt x="3143250" y="2021606"/>
                </a:lnTo>
                <a:lnTo>
                  <a:pt x="3143250" y="2277281"/>
                </a:lnTo>
                <a:lnTo>
                  <a:pt x="3143250" y="2513299"/>
                </a:lnTo>
                <a:lnTo>
                  <a:pt x="3143250" y="2730445"/>
                </a:lnTo>
                <a:lnTo>
                  <a:pt x="3143250" y="2929508"/>
                </a:lnTo>
                <a:lnTo>
                  <a:pt x="3143250" y="3111272"/>
                </a:lnTo>
                <a:lnTo>
                  <a:pt x="3143250" y="3276523"/>
                </a:lnTo>
                <a:lnTo>
                  <a:pt x="3143250" y="3426049"/>
                </a:lnTo>
                <a:lnTo>
                  <a:pt x="3143250" y="3560636"/>
                </a:lnTo>
                <a:lnTo>
                  <a:pt x="3143250" y="3681069"/>
                </a:lnTo>
                <a:lnTo>
                  <a:pt x="3143250" y="3788136"/>
                </a:lnTo>
                <a:lnTo>
                  <a:pt x="3143250" y="3882621"/>
                </a:lnTo>
                <a:lnTo>
                  <a:pt x="3143250" y="3965313"/>
                </a:lnTo>
                <a:lnTo>
                  <a:pt x="3143250" y="4036996"/>
                </a:lnTo>
                <a:lnTo>
                  <a:pt x="3143250" y="4098458"/>
                </a:lnTo>
                <a:lnTo>
                  <a:pt x="3143250" y="4193861"/>
                </a:lnTo>
                <a:lnTo>
                  <a:pt x="3143250" y="4257813"/>
                </a:lnTo>
                <a:lnTo>
                  <a:pt x="3143250" y="4296603"/>
                </a:lnTo>
                <a:lnTo>
                  <a:pt x="3143250" y="4316522"/>
                </a:lnTo>
                <a:lnTo>
                  <a:pt x="3143250" y="4323861"/>
                </a:lnTo>
                <a:lnTo>
                  <a:pt x="3143250" y="4324909"/>
                </a:lnTo>
                <a:lnTo>
                  <a:pt x="2967203" y="4324909"/>
                </a:lnTo>
                <a:lnTo>
                  <a:pt x="2813131" y="4324909"/>
                </a:lnTo>
                <a:lnTo>
                  <a:pt x="2679569" y="4324909"/>
                </a:lnTo>
                <a:lnTo>
                  <a:pt x="2565053" y="4324909"/>
                </a:lnTo>
                <a:lnTo>
                  <a:pt x="2468117" y="4324909"/>
                </a:lnTo>
                <a:lnTo>
                  <a:pt x="2387296" y="4324909"/>
                </a:lnTo>
                <a:lnTo>
                  <a:pt x="2321126" y="4324909"/>
                </a:lnTo>
                <a:lnTo>
                  <a:pt x="2268141" y="4324909"/>
                </a:lnTo>
                <a:lnTo>
                  <a:pt x="2226876" y="4324909"/>
                </a:lnTo>
                <a:lnTo>
                  <a:pt x="2195866" y="4324909"/>
                </a:lnTo>
                <a:lnTo>
                  <a:pt x="2173647" y="4324909"/>
                </a:lnTo>
                <a:lnTo>
                  <a:pt x="2158752" y="4324909"/>
                </a:lnTo>
                <a:lnTo>
                  <a:pt x="2145079" y="4324909"/>
                </a:lnTo>
                <a:lnTo>
                  <a:pt x="2143125" y="4324909"/>
                </a:lnTo>
                <a:cubicBezTo>
                  <a:pt x="703660" y="4324909"/>
                  <a:pt x="0" y="3203702"/>
                  <a:pt x="0" y="2092027"/>
                </a:cubicBezTo>
                <a:lnTo>
                  <a:pt x="0" y="1904755"/>
                </a:lnTo>
                <a:lnTo>
                  <a:pt x="0" y="1729184"/>
                </a:lnTo>
                <a:lnTo>
                  <a:pt x="0" y="1564937"/>
                </a:lnTo>
                <a:lnTo>
                  <a:pt x="0" y="1411635"/>
                </a:lnTo>
                <a:lnTo>
                  <a:pt x="0" y="1268901"/>
                </a:lnTo>
                <a:lnTo>
                  <a:pt x="0" y="1136358"/>
                </a:lnTo>
                <a:lnTo>
                  <a:pt x="0" y="987278"/>
                </a:lnTo>
                <a:lnTo>
                  <a:pt x="0" y="900334"/>
                </a:lnTo>
                <a:lnTo>
                  <a:pt x="0" y="700545"/>
                </a:lnTo>
                <a:lnTo>
                  <a:pt x="0" y="533969"/>
                </a:lnTo>
                <a:lnTo>
                  <a:pt x="0" y="397589"/>
                </a:lnTo>
                <a:lnTo>
                  <a:pt x="0" y="288384"/>
                </a:lnTo>
                <a:lnTo>
                  <a:pt x="0" y="203335"/>
                </a:lnTo>
                <a:lnTo>
                  <a:pt x="0" y="139423"/>
                </a:lnTo>
                <a:lnTo>
                  <a:pt x="0" y="93627"/>
                </a:lnTo>
                <a:lnTo>
                  <a:pt x="0" y="62929"/>
                </a:lnTo>
                <a:lnTo>
                  <a:pt x="0" y="44309"/>
                </a:lnTo>
                <a:lnTo>
                  <a:pt x="0" y="34747"/>
                </a:lnTo>
                <a:lnTo>
                  <a:pt x="0" y="30722"/>
                </a:lnTo>
                <a:close/>
              </a:path>
            </a:pathLst>
          </a:custGeom>
          <a:solidFill>
            <a:srgbClr val="F7F4F4"/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9C56AD-5771-4CF9-A68F-341084E1F8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542160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1F36FD7-BCFF-4C99-8A08-33CBD1885458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86B9FB-5D60-4AFF-B4EB-69AF616FFA4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AE2B1A-B183-4A05-B71F-34CAC5CE82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9879C02-3E28-4BE8-8B42-0914AEB41E4B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24465" y="1225553"/>
            <a:ext cx="54216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90320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el dia met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roup 14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40690B5-E9C4-469E-AC47-F81538B63EE1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97FE097-B5EF-4A16-9535-933B0CE8218F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0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7034044-DC63-4BBB-B17F-87B33F94CB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17D515-E534-4C98-A07F-539C2B0F4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29916D9-D789-494F-933C-45BF8A615A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0ADEE3-6CBB-4AE2-84A2-8B89A8F5DE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F00A087-216A-4886-8634-7B4EB7DF45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248545-84FB-4774-8768-819EBF5E845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3277B2-2FDC-4402-B9D7-9012656812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B97852-692C-42BC-B82B-0B83268D3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E66D167-7063-412B-9D64-606FE59120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65EAB49-1207-4991-B1BE-6308C7C2CB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A1B4C5-824D-44EE-96DA-924A218DE4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5E85AE7-6821-44C4-96BD-355B7EBCEC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0C0A9E-0C1C-4B1E-B751-DF8105535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78EFAB-D9FD-4C47-A147-52EB939C9F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C3B31A-95D3-44E5-ABAD-2E4437D085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EA6105-B894-4A2A-9F06-4E9BB9FAFD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1D4955-92C9-4AEA-B52F-28DBE9DB5C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50A0EB-88C1-4150-B5CE-B48E92231B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2366BA-5281-4E4A-9350-643498075A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3F1032-8329-4582-A780-129BA7002E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F4848E1-CF02-4ECA-A114-F7AB7EA6C1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69A0D17-1A04-4AE9-B177-108357903A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158D20-87D3-4335-8546-62860EFCB75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11EF58-066F-4355-9D23-1172FDE8B5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4469AD9-1922-4B97-BDC3-F96D018AAC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148BBB2-74B3-43DF-9744-1655540EE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D21481-117F-4297-9239-51CA390001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580CDD-C035-4FB4-8F63-759796480C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7E1FB5-13AE-46FB-A0AC-4B25CD8309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616647-40FE-4238-BD55-ACFF4A4926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C739C0-B3EA-42AB-87AF-BBEC569948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8C9A92C-C7AF-46F6-A056-CB4C688BAA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810E1B-B477-4C28-9C23-9EFBFA2E02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6F2FDD-9D7A-4E85-A873-FE6C2A18CA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D81E0EC-5F1A-4959-AC02-966D35E381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E96885-9828-4527-BFD4-08735E5DEC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35E73C-468B-403C-9B41-C64A95F4FF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2FA20D1-AEE0-4DCC-AC59-67740CCD31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29D67D-D951-4370-8F9F-7AEF8F8A49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193411-4A74-44AC-9C33-B6F377876D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48700C-17F9-4DE2-94E5-92AC932185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0753BB-D972-433D-B811-DA69EEEE52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87CCB9-2335-47E4-B8BE-AD93D5161FFC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8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EFEFA1-A46C-40B4-BB60-F08E8885B2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7BF867-03C5-4DC9-93DB-89D5A16FE8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1E623F1-4F81-42E3-8DB8-DDB4D964E2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FB8657-03A8-4B75-8CF2-3F6138E75E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233227-1EBC-4CAF-8153-3D15859CE5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D3F6CB-93A9-4D0F-8BBC-4EC1BB8EB7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68D2A4-0026-49EB-9C92-75E95CD48D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AC41DE3-5E04-41A0-810D-4C7F50D934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90A228F-02B2-40A6-AE8D-27C1F3BED9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9ECB891-56FC-4A2A-8078-CC2BBA4A8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0674F2-427D-466A-B705-7CEBC6202A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E1320AF-F9AB-41E0-A647-3BC3E5D76C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813D28-967C-4BB1-BE05-34B350DC9C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9BBDF1-BF96-4926-8406-53AD44908F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181C6B-EEA5-4836-8121-9E6A66B011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5EA05DE-5D06-4879-A903-A2DD73A679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194EC96-FF69-4B5B-B554-593B6BBB7A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54ACFB-2D3A-452E-9AB4-1A8166B7A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AC129D-943B-4B17-BF5A-EA8CD134F2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2B417E-731B-42D7-99EB-153864D57B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67543FC-883C-4305-B617-AE4656676F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93DAC8-ABB2-43E0-9BBF-842447AE60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E225F8-EA88-4874-BC85-C566AB1F66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92FDE1-E159-4709-8E6A-D55D8ABBE4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EE14279-43BC-4FAE-8A50-F2D2BAD1D4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195A30-530C-4034-A66E-DF043925F6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B03AAF-2B8B-43EF-9107-4141775135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FF3914-A85F-459A-A09C-61EDDDF144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EC27BF0-685C-477D-AB3C-15B82C1CFA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2BE50FF-FB7B-48A4-B695-B63CF6FD43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5A63F43-7AD9-433E-A314-5B6AAE001D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0E15754-9361-48A1-B24E-0964D9FEB4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9B8B1F-989B-47D5-B299-3E96D222DD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F833C4-1CF7-4178-8010-5F321EE55A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2120E9-7283-4679-8801-D83F2939C8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152997B-DA0E-4450-8459-6E2F2A2B84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E6A5C42-8CD9-45F3-8C7B-5CD8265F03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AC0DED-022A-4E15-8018-5452386890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1F1987-E1C3-4713-BE2F-3787ED8EE4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AD3531-1D0C-406F-81AB-836C562BAD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6ADE77-05D7-4421-9E7D-17B5B70D8C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5CE8A1-1DDC-4D28-8697-A6AC3C00E0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968231-8D34-4834-8593-71F3A211CD69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5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557C33-97EA-4E8E-991E-130961DA30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A197B5-0D34-486A-B4CF-E7A474691B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EE32E6-9EF7-4818-8C0F-21F7A09BA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8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5AA8349-599F-4768-BB33-82E6306319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043EEE-47A4-4965-AACB-62C2026EA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098676-9138-4761-89CA-9C8A39F0ED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BFD93AF-4380-42AF-B59E-876829789C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7F97AD-BBBD-4DA7-B46D-9613CD5894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00D82D-5859-46AA-9302-7107A20B30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C24EED-8E38-45E1-A0A8-ABE678DF17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17C675D-A25F-4DC6-B09C-23E303439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3678F4-C9F0-4DB1-B184-A43A11CB4D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3D99B42-6C21-4A7D-B8D0-07444CFC30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D3573C-77F7-4DAE-A68C-96855622B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FCA2964-E0D5-4CF3-8A05-93E556C88D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991EFDE-BA5D-47B0-8A9C-29A37732E5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0CCDA1-7F11-4F3F-8739-9FC2DEAC79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1055711-F5B5-4DC0-BFCF-A211608EC2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4F8029-15FC-4284-A8C5-F50234674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461D6A-303D-4123-A8C3-CF0483CBCF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F572F1C-5D7D-41BA-9DB2-FEA292489D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B90865-83AC-483C-9F65-30662BBE0A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DCA5DA-0C30-47FD-B7DF-60A6B1DDD3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36FFC7-9CF7-4E4E-8BA4-47846B1C0F96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2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CE8375-EA21-44F5-A9CF-A6CD0E4480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CE3D2D3-BCEC-4D8D-B041-64A2C5F35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1C1D9F1-12C3-4494-A6A1-A6E6AB0BC2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D64B73-EA1A-44FC-B0E2-3149B33842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5E45CB-4256-4D27-8413-DA69E33E14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17B19A-66E7-40B1-8F19-5647C50C0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FE2900-1AFF-4595-8834-90BF723A66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13FA1E-1177-4517-AFB5-4877D33269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B61CE8-99BA-4580-9AF6-61DB206784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D422A2-B4DC-4C86-BC1E-ADA7B8188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F8E5FD-53F5-457C-B2E1-A9C46FAF4A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6FDF4A-DD15-4DCF-B85F-911C947F54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1D2367-FEA9-4D98-B55F-E478B5245D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994F7B-E421-4DD1-B9DC-C150167092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C10A8F-CAC7-457A-8C09-1FF905CDE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D3070A-240F-4D3B-B3B8-1AC966E150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BDDD84-9B4B-446B-9265-5EA70298CE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28DB61E-EE8C-4CF8-A50E-4200EB0349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FD5CA0-5029-4E5D-BA4E-3C073A2190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AE8897C-7127-4EE2-8952-5A91B17523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F7CB7D-D583-4CB3-B326-CB4C60EE94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2CB675-50D2-4D1F-91D6-86A831BB9C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F97F2C-3C34-4349-8CF7-D60DB6621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4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AF6E548-4D4C-429D-9652-83FEAA1EA8C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AE8A37B-4BE9-49E5-9912-AE62864E6B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F365F1-D3D0-420F-8EBD-F904538704E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7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4B9F56-08DA-40CB-9208-3FF3A15FD15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8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9F3FEC-AFCC-4BAB-A228-9DC1DCBFD54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5FE9C3-8197-4949-8D4E-DCEE127D039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A84202A-39E1-4458-82FC-87A8AC27FF9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55A161-3348-459F-97EF-CCEEDC172A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0" name="Rectangle 14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1A3A67-BB3A-4CCB-8824-A27024844D4E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4D562F-88FE-4312-9EAA-075B9E1B44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95309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54" name="think-cell Slide" r:id="rId5" imgW="6350000" imgH="635000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1E7EB5B-8D86-4755-BBB6-0F986AD3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9B5B807-DF3E-4F21-A1FD-E1775E404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2690194"/>
            <a:ext cx="7027544" cy="830997"/>
          </a:xfrm>
        </p:spPr>
        <p:txBody>
          <a:bodyPr/>
          <a:lstStyle>
            <a:lvl1pPr>
              <a:defRPr sz="4800">
                <a:solidFill>
                  <a:schemeClr val="tx2"/>
                </a:solidFill>
              </a:defRPr>
            </a:lvl1pPr>
          </a:lstStyle>
          <a:p>
            <a:r>
              <a:rPr lang="nl-NL" noProof="0" dirty="0"/>
              <a:t>Een korte titel</a:t>
            </a:r>
          </a:p>
        </p:txBody>
      </p:sp>
      <p:sp>
        <p:nvSpPr>
          <p:cNvPr id="9" name="Text Placeholder 8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D0D54BF-C26E-4122-BC3D-ED7166C63DC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3475058"/>
            <a:ext cx="7028617" cy="469552"/>
          </a:xfrm>
        </p:spPr>
        <p:txBody>
          <a:bodyPr wrap="square">
            <a:sp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9AAC86-A499-43AF-AF51-921450F9A57B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1971D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DCCAEE-1E51-4502-A7C0-3794E534D7D8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971D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6260A6-42AD-482B-85FF-AFC4B73CCD3B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49" name="Content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C98D04-FD84-4066-8DAA-387935292253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E0BA898-0502-49B7-BFCD-96C7436C9DC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 bwMode="gray">
          <a:xfrm>
            <a:off x="267" y="4026331"/>
            <a:ext cx="3185465" cy="1117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880767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2_Twee kolommen tekst en afbeelding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A732E5-BF02-4659-9CB4-11687D931C7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18437" y="0"/>
            <a:ext cx="4425563" cy="4324909"/>
          </a:xfrm>
          <a:custGeom>
            <a:avLst/>
            <a:gdLst>
              <a:gd name="connsiteX0" fmla="*/ 0 w 4425563"/>
              <a:gd name="connsiteY0" fmla="*/ 0 h 4324909"/>
              <a:gd name="connsiteX1" fmla="*/ 4425562 w 4425563"/>
              <a:gd name="connsiteY1" fmla="*/ 0 h 4324909"/>
              <a:gd name="connsiteX2" fmla="*/ 4425562 w 4425563"/>
              <a:gd name="connsiteY2" fmla="*/ 40909 h 4324909"/>
              <a:gd name="connsiteX3" fmla="*/ 4425563 w 4425563"/>
              <a:gd name="connsiteY3" fmla="*/ 40909 h 4324909"/>
              <a:gd name="connsiteX4" fmla="*/ 4425563 w 4425563"/>
              <a:gd name="connsiteY4" fmla="*/ 430114 h 4324909"/>
              <a:gd name="connsiteX5" fmla="*/ 4425563 w 4425563"/>
              <a:gd name="connsiteY5" fmla="*/ 795002 h 4324909"/>
              <a:gd name="connsiteX6" fmla="*/ 4425563 w 4425563"/>
              <a:gd name="connsiteY6" fmla="*/ 1136357 h 4324909"/>
              <a:gd name="connsiteX7" fmla="*/ 4425563 w 4425563"/>
              <a:gd name="connsiteY7" fmla="*/ 1454964 h 4324909"/>
              <a:gd name="connsiteX8" fmla="*/ 4425563 w 4425563"/>
              <a:gd name="connsiteY8" fmla="*/ 1751607 h 4324909"/>
              <a:gd name="connsiteX9" fmla="*/ 4425563 w 4425563"/>
              <a:gd name="connsiteY9" fmla="*/ 2027070 h 4324909"/>
              <a:gd name="connsiteX10" fmla="*/ 4425563 w 4425563"/>
              <a:gd name="connsiteY10" fmla="*/ 2282139 h 4324909"/>
              <a:gd name="connsiteX11" fmla="*/ 4425563 w 4425563"/>
              <a:gd name="connsiteY11" fmla="*/ 2517597 h 4324909"/>
              <a:gd name="connsiteX12" fmla="*/ 4425563 w 4425563"/>
              <a:gd name="connsiteY12" fmla="*/ 2734228 h 4324909"/>
              <a:gd name="connsiteX13" fmla="*/ 4425563 w 4425563"/>
              <a:gd name="connsiteY13" fmla="*/ 2932818 h 4324909"/>
              <a:gd name="connsiteX14" fmla="*/ 4425563 w 4425563"/>
              <a:gd name="connsiteY14" fmla="*/ 3114151 h 4324909"/>
              <a:gd name="connsiteX15" fmla="*/ 4425563 w 4425563"/>
              <a:gd name="connsiteY15" fmla="*/ 3279011 h 4324909"/>
              <a:gd name="connsiteX16" fmla="*/ 4425563 w 4425563"/>
              <a:gd name="connsiteY16" fmla="*/ 3428182 h 4324909"/>
              <a:gd name="connsiteX17" fmla="*/ 4425563 w 4425563"/>
              <a:gd name="connsiteY17" fmla="*/ 3562449 h 4324909"/>
              <a:gd name="connsiteX18" fmla="*/ 4425563 w 4425563"/>
              <a:gd name="connsiteY18" fmla="*/ 3682597 h 4324909"/>
              <a:gd name="connsiteX19" fmla="*/ 4425563 w 4425563"/>
              <a:gd name="connsiteY19" fmla="*/ 3789409 h 4324909"/>
              <a:gd name="connsiteX20" fmla="*/ 4425563 w 4425563"/>
              <a:gd name="connsiteY20" fmla="*/ 3883671 h 4324909"/>
              <a:gd name="connsiteX21" fmla="*/ 4425563 w 4425563"/>
              <a:gd name="connsiteY21" fmla="*/ 3966166 h 4324909"/>
              <a:gd name="connsiteX22" fmla="*/ 4425563 w 4425563"/>
              <a:gd name="connsiteY22" fmla="*/ 4037679 h 4324909"/>
              <a:gd name="connsiteX23" fmla="*/ 4425563 w 4425563"/>
              <a:gd name="connsiteY23" fmla="*/ 4098995 h 4324909"/>
              <a:gd name="connsiteX24" fmla="*/ 4425563 w 4425563"/>
              <a:gd name="connsiteY24" fmla="*/ 4150898 h 4324909"/>
              <a:gd name="connsiteX25" fmla="*/ 4425563 w 4425563"/>
              <a:gd name="connsiteY25" fmla="*/ 4194172 h 4324909"/>
              <a:gd name="connsiteX26" fmla="*/ 4425563 w 4425563"/>
              <a:gd name="connsiteY26" fmla="*/ 4229602 h 4324909"/>
              <a:gd name="connsiteX27" fmla="*/ 4425563 w 4425563"/>
              <a:gd name="connsiteY27" fmla="*/ 4257972 h 4324909"/>
              <a:gd name="connsiteX28" fmla="*/ 4425563 w 4425563"/>
              <a:gd name="connsiteY28" fmla="*/ 4296670 h 4324909"/>
              <a:gd name="connsiteX29" fmla="*/ 4425563 w 4425563"/>
              <a:gd name="connsiteY29" fmla="*/ 4316542 h 4324909"/>
              <a:gd name="connsiteX30" fmla="*/ 4425563 w 4425563"/>
              <a:gd name="connsiteY30" fmla="*/ 4323863 h 4324909"/>
              <a:gd name="connsiteX31" fmla="*/ 4425563 w 4425563"/>
              <a:gd name="connsiteY31" fmla="*/ 4324909 h 4324909"/>
              <a:gd name="connsiteX32" fmla="*/ 2042568 w 4425563"/>
              <a:gd name="connsiteY32" fmla="*/ 4324909 h 4324909"/>
              <a:gd name="connsiteX33" fmla="*/ 0 w 4425563"/>
              <a:gd name="connsiteY33" fmla="*/ 2097324 h 4324909"/>
              <a:gd name="connsiteX34" fmla="*/ 0 w 4425563"/>
              <a:gd name="connsiteY34" fmla="*/ 1021484 h 4324909"/>
              <a:gd name="connsiteX35" fmla="*/ 0 w 4425563"/>
              <a:gd name="connsiteY35" fmla="*/ 987278 h 4324909"/>
              <a:gd name="connsiteX36" fmla="*/ 0 w 4425563"/>
              <a:gd name="connsiteY36" fmla="*/ 908459 h 4324909"/>
              <a:gd name="connsiteX37" fmla="*/ 0 w 4425563"/>
              <a:gd name="connsiteY37" fmla="*/ 40909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425563" h="4324909">
                <a:moveTo>
                  <a:pt x="0" y="0"/>
                </a:moveTo>
                <a:lnTo>
                  <a:pt x="4425562" y="0"/>
                </a:lnTo>
                <a:lnTo>
                  <a:pt x="4425562" y="40909"/>
                </a:lnTo>
                <a:lnTo>
                  <a:pt x="4425563" y="40909"/>
                </a:lnTo>
                <a:lnTo>
                  <a:pt x="4425563" y="430114"/>
                </a:lnTo>
                <a:lnTo>
                  <a:pt x="4425563" y="795002"/>
                </a:lnTo>
                <a:lnTo>
                  <a:pt x="4425563" y="1136357"/>
                </a:lnTo>
                <a:lnTo>
                  <a:pt x="4425563" y="1454964"/>
                </a:lnTo>
                <a:lnTo>
                  <a:pt x="4425563" y="1751607"/>
                </a:lnTo>
                <a:lnTo>
                  <a:pt x="4425563" y="2027070"/>
                </a:lnTo>
                <a:lnTo>
                  <a:pt x="4425563" y="2282139"/>
                </a:lnTo>
                <a:lnTo>
                  <a:pt x="4425563" y="2517597"/>
                </a:lnTo>
                <a:lnTo>
                  <a:pt x="4425563" y="2734228"/>
                </a:lnTo>
                <a:lnTo>
                  <a:pt x="4425563" y="2932818"/>
                </a:lnTo>
                <a:lnTo>
                  <a:pt x="4425563" y="3114151"/>
                </a:lnTo>
                <a:lnTo>
                  <a:pt x="4425563" y="3279011"/>
                </a:lnTo>
                <a:lnTo>
                  <a:pt x="4425563" y="3428182"/>
                </a:lnTo>
                <a:lnTo>
                  <a:pt x="4425563" y="3562449"/>
                </a:lnTo>
                <a:lnTo>
                  <a:pt x="4425563" y="3682597"/>
                </a:lnTo>
                <a:lnTo>
                  <a:pt x="4425563" y="3789409"/>
                </a:lnTo>
                <a:lnTo>
                  <a:pt x="4425563" y="3883671"/>
                </a:lnTo>
                <a:lnTo>
                  <a:pt x="4425563" y="3966166"/>
                </a:lnTo>
                <a:lnTo>
                  <a:pt x="4425563" y="4037679"/>
                </a:lnTo>
                <a:lnTo>
                  <a:pt x="4425563" y="4098995"/>
                </a:lnTo>
                <a:lnTo>
                  <a:pt x="4425563" y="4150898"/>
                </a:lnTo>
                <a:lnTo>
                  <a:pt x="4425563" y="4194172"/>
                </a:lnTo>
                <a:lnTo>
                  <a:pt x="4425563" y="4229602"/>
                </a:lnTo>
                <a:lnTo>
                  <a:pt x="4425563" y="4257972"/>
                </a:lnTo>
                <a:lnTo>
                  <a:pt x="4425563" y="4296670"/>
                </a:lnTo>
                <a:lnTo>
                  <a:pt x="4425563" y="4316542"/>
                </a:lnTo>
                <a:lnTo>
                  <a:pt x="4425563" y="4323863"/>
                </a:lnTo>
                <a:lnTo>
                  <a:pt x="4425563" y="4324909"/>
                </a:lnTo>
                <a:cubicBezTo>
                  <a:pt x="2042568" y="4324909"/>
                  <a:pt x="2042568" y="4324909"/>
                  <a:pt x="2042568" y="4324909"/>
                </a:cubicBezTo>
                <a:cubicBezTo>
                  <a:pt x="670643" y="4324909"/>
                  <a:pt x="0" y="3206362"/>
                  <a:pt x="0" y="2097324"/>
                </a:cubicBezTo>
                <a:cubicBezTo>
                  <a:pt x="0" y="1647483"/>
                  <a:pt x="0" y="1296045"/>
                  <a:pt x="0" y="1021484"/>
                </a:cubicBezTo>
                <a:lnTo>
                  <a:pt x="0" y="987278"/>
                </a:lnTo>
                <a:lnTo>
                  <a:pt x="0" y="908459"/>
                </a:lnTo>
                <a:cubicBezTo>
                  <a:pt x="0" y="40909"/>
                  <a:pt x="0" y="40909"/>
                  <a:pt x="0" y="40909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BADEFA-117E-44BF-BF4A-B0F82B0E2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411480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  <a:endParaRPr lang="nl-NL" noProof="0" dirty="0"/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40345F-54DD-41C0-8786-64E0F3DDF229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F0C727-DAC5-4684-A9F4-3D9E744367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65142C-9A97-4E32-87A5-5F4864FA96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59E4831-161A-4F57-8ABC-DE2D118C180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41148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108743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Drie kolommen tekst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05D4EF-BDFA-4128-9A87-B24D34C4C2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</p:spPr>
        <p:txBody>
          <a:bodyPr/>
          <a:lstStyle/>
          <a:p>
            <a:r>
              <a:rPr lang="nl-NL" noProof="0"/>
              <a:t>Klik om de stijl te bewerken</a:t>
            </a:r>
            <a:endParaRPr lang="nl-NL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A3325B-ACE4-4266-B882-DEF599996D2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FD17BA-537D-4E51-BCDA-FCCEFC719E4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5CBC46-534A-48EB-AA4B-7D627B57442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4465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1EDB15-4BF2-4F60-8C8C-E9BBDB2376A4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166335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6D852D-B696-41D4-982F-595712C6D664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245400" y="1225553"/>
            <a:ext cx="2653200" cy="3114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932536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Quote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roup 14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A5A218-1A44-4771-B025-B3F321A2A57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FBC4B26-6325-4F76-8B72-9707ADBAEA93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4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3BD8805-637F-476F-8C7B-376AB3A054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4FE883-3101-430C-9E4A-18C7BDD54B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6066621-C35F-4216-BD95-43E32E3D5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CA3342-02E8-4312-B595-9026CF33FB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B470B44-1E10-4C56-95BA-9FB2EF7AA1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F215C8-9E2C-4B88-9061-7ED246DDDA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AA13FA-F47F-4253-A368-B3E8076AA5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323CAB-11BD-48F5-8822-DBAC9138E3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7996004-1578-445E-A17D-C3E9B28DBA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AA130B-0E0C-402A-8C4B-CE7AA0E72E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3AB398-1176-4ACA-BA39-97C6BDBE3A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A80C32-57FA-42D0-ADC8-91CC8526F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5206A1-7276-4B7D-960D-A3B1B108B6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327856-3E69-4B29-AC4B-4A530F48D0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D85AD0-AF89-4EBC-8B89-49E70936AF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C5D7CC-3202-4C2F-8E50-04588F9934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77CA9CC-60E9-4C7C-B2AE-A8735B8679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6F1EE8-3606-455C-A655-E9BCF72B62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EAAD8E-5F8C-4F96-8335-41C4304DE2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1FDB6D-8C3F-4401-AB5D-1CCEC92A67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87B8D4-674A-4BCE-B466-E1E01ECAC2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A35824-FDE9-4B53-9648-EFC7B0DE6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BBC67D-F4FB-4311-ABA7-15E532F70A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C5114F0-A0F2-4421-9E54-2BF10D5909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1B8AA8-7262-49B9-BA31-7B6CAEA249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181C1A-91E1-481B-9A30-5B147A7D10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CD687E-B629-4D51-B114-6AD5D25267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7113C1-FD74-4EEE-9277-9CE89774F3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0F64EE0-5E14-4570-8162-16EF708AC7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8DFC20-4524-4D8A-96C1-25CE45DF44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9E32D2-3EA3-4921-AA14-4F5990B1D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5C62C7-B474-45B5-B386-04487EF283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67C0BDC-C682-4DCC-92DA-ABE2D4F752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9C8524E-3372-40F8-B9E1-295CE5A83D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2DFCD4-DC4A-491C-AF40-4928E86D35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340DE4-3818-4814-9D33-29DD1FB58C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1ED0EDA-240D-4856-8D92-AAAF8B3F38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D2CE6D-3175-4B4E-B854-1861EE76A8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8E626D-8BCF-4703-A6CE-4448243B36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8F8F3FF-1191-4B66-99DB-6E26FF6A8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496A68-7111-4FB2-9B0F-9F1F236574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F6DF1E-4483-41EA-99BE-C2F2EA4E52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F57188-0E5D-4A4F-B74D-FED036B55463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2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D99A3D-6A61-4D3D-89E6-2760BF6537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443C75-1732-4BA0-9463-16C5012661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BFA5E4E-CA42-4F87-98E7-FE9400FB85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7DA92B-88E2-4260-830F-F9AE436FE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2E2BC71-EE0B-4255-9587-CD217407CA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C4629B-5589-44AE-8369-7F5A6CDF7E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935B8A-C9AA-4CF1-8DFA-1933DE429D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BF14F9-8223-4D8A-B2A8-49CD7A54D3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39278B-2783-42E0-9A84-5EC86BB26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A5962AE-BC79-4805-BCBD-F995E38523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7D4558-3DF8-4FE2-9840-D2025A3DD3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7C8F00-DA7F-4307-A11A-9CBCBB366F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00F2D00-94D0-4A5A-A68B-B1C1D3D022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663080-6F8F-4D22-9C2D-8AB1DCDD7B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BD8F7F-0410-494E-BAD5-A7A38B1A18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FDCADD-6E74-46B8-B04E-9D7EA8E58A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EC64F1-7044-4818-84E5-C2755344F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165C0BA-9AA3-47A7-BC00-4326851BAD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DC3DD7-F299-4D75-9ACB-B60081E2EF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765696-F89E-49B5-9CF9-916D5F37A0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E213F27-489B-4BA6-AE13-D4DAD80D67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6143110-E587-4BB8-A5F4-0FE9D7546F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C9D2E97-6F48-4BF4-B754-9A7E7577F9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E3EB58-7996-459A-97CB-D27706D607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210231-EB26-4991-BEBC-36F79BF3D7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A935FA-FC5B-4BB1-B881-E244F30B1A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026D4F-B591-40DB-BF05-81BC083622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E0A07B3-45BE-4B5A-82EA-397C26060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CDA26E4-F26F-495F-93E0-ABAA29854E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9EA723-B281-4D34-B488-04B9A87F15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AB68464-4951-4F94-99CA-4583CFFCE3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A7AF6E3-35ED-4D78-9E5E-D2C21AD825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ED3961-E676-4011-9779-FFF1CAC8C4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4811389-6665-4656-881F-23D8343192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9B6148-EC8F-4CF2-8272-5C6283263C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BF7CC0-B146-4D82-831C-A8A9BAC6C4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BD7216-A6CD-4B9B-B8F6-E25C8D592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795645B-6405-4926-AC56-A8D1BF0645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C191BCE-AC0B-4D5F-AD48-B8B47C943F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56D1FA9-D1DB-4513-AC58-E2EA36E095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44CF1E-456A-486C-9BF7-6D51B624C1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F29A272-31D6-4DE7-9B78-D2C68E80B1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7402BC-A81D-4537-804C-43D34020D5B2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79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421C62B-8E2C-49E3-B5BC-9E403250A7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40673D-0199-40FB-8A9E-64310496DD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E8215D-C3C4-4A73-BD0F-8BA7F762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2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DAD94F0-B454-4DFE-93AC-67FB19161E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941118-30DB-4BAB-9969-C20A9E8D3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686D69-09F3-402B-9294-3CCC5E22CD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D1FD4F4-1D48-478F-80DD-4696432B88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8BAC93-EF49-437C-8C13-B4058CA55B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1F7D53A-0DEB-40F4-80E3-6666141D7B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2DA2D6B-9DB0-4726-918F-FF5AFD3D20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5AC468-D96B-4A05-9FEC-DE588608CD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EB01E5-D42D-4A41-B1B9-EBCC51A2EA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7DDACC6-50E9-40F2-8B15-A03A4A3C10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33C298-F04B-414C-9057-5FD978375D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2D99C7-2D3F-4E2C-8A67-648FF9A3DE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1D5F0E2-3B7A-4E9D-B3A5-FA2C79C8E1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39938AF-B13B-4B8D-A504-1429742509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BE8CEA-12A7-4E74-BC5F-ABE1379C3A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E8752F-6CE7-4891-9C11-606242B78D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65E1D6-50C3-4A64-8F09-55E117BC5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5F3E76-AE1D-4BDD-92FD-23BE5F27D6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D5AB20-2915-4CF3-AB1F-4DB51705F3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6E13AC-C42D-43C8-9138-2B790F7FC1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A5159F-4836-458A-B936-49B940636132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6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BBFDFE6-28F3-4084-BE31-5FA60342DD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FBA5A57-2CFC-435D-A013-4F67327176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7BFA0D-1A3D-4C1C-BC63-5A6D9EEFBE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87EA413-47A3-4257-909A-59AD166D71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FEB8B5-181A-4292-A063-09EC342368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315634-7A9F-4FAB-9860-0112CCFE9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3ABEA7-460A-4953-B601-370EDD9EB3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9547F88-A319-4F47-83F5-9C4497D4E4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C476A5-C5AE-4BBC-A4DD-84E8F6E2DB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E9D37F-2414-4045-AB67-AC1A797924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62BBB46-B6A2-471B-80DC-CDF998E1D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089D01-AFA3-4C5E-8859-83EA3FD892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DFE3FD-66BA-42F7-928D-A01A9F3116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BBC3E20-ED41-4BF5-B42B-64137BD4E9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023812-5C70-4E70-A4B8-AED6255949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85EFAA2-D5A1-4CD7-AFCE-E3EC468C73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3C740FA-98E7-4158-9E06-675CA6D9DE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CCEFF65-38B6-43B3-9C7F-795211CB25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8516103-61DA-4A5B-ACD6-6F51911C28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FAF9D22-E4C3-403F-8AFA-F8BD692DFF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A8BD32-E7C1-46E5-AD99-F240002526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6F98172-1DE8-4E1A-9132-2445A5C900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D22C78-16F6-4B8D-B4B8-7FD15C3392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48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76C64AD-9040-4204-A675-E8656BD9C49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9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9FDC947-9341-415C-AD84-950E6CBB329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0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A0F010-1564-49CC-B288-5BCEF98C512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1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411B2E-6331-4BBE-B590-FB411684182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2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822687-2153-4379-8DAC-9CF5A334CF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AB66BB-12D3-4758-9C11-8FFC540F8A4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6FA29B-5F03-485F-B813-4707BEF86FF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AECB8B-00F0-40E1-AE84-AF045893A3B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416" name="Rectangle 41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6181363-CE89-4D35-B6FC-BDA9B8E9416B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reeform 1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364F5C-7E32-4691-8C62-8466322E8883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-1"/>
            <a:ext cx="9144000" cy="4324351"/>
          </a:xfrm>
          <a:prstGeom prst="rect">
            <a:avLst/>
          </a:prstGeom>
          <a:solidFill>
            <a:srgbClr val="F7F4F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Text Placeholder 11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ADD901-E232-4396-8CA7-8C5660303D1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70102" y="421004"/>
            <a:ext cx="7290466" cy="3493771"/>
          </a:xfrm>
          <a:custGeom>
            <a:avLst/>
            <a:gdLst>
              <a:gd name="connsiteX0" fmla="*/ 0 w 4507200"/>
              <a:gd name="connsiteY0" fmla="*/ 0 h 5143500"/>
              <a:gd name="connsiteX1" fmla="*/ 4507200 w 4507200"/>
              <a:gd name="connsiteY1" fmla="*/ 0 h 5143500"/>
              <a:gd name="connsiteX2" fmla="*/ 4507200 w 4507200"/>
              <a:gd name="connsiteY2" fmla="*/ 2400299 h 5143500"/>
              <a:gd name="connsiteX3" fmla="*/ 4507200 w 4507200"/>
              <a:gd name="connsiteY3" fmla="*/ 2743201 h 5143500"/>
              <a:gd name="connsiteX4" fmla="*/ 4507200 w 4507200"/>
              <a:gd name="connsiteY4" fmla="*/ 4012979 h 5143500"/>
              <a:gd name="connsiteX5" fmla="*/ 4507200 w 4507200"/>
              <a:gd name="connsiteY5" fmla="*/ 4154750 h 5143500"/>
              <a:gd name="connsiteX6" fmla="*/ 4507200 w 4507200"/>
              <a:gd name="connsiteY6" fmla="*/ 5143500 h 5143500"/>
              <a:gd name="connsiteX7" fmla="*/ 1875 w 4507200"/>
              <a:gd name="connsiteY7" fmla="*/ 5143500 h 5143500"/>
              <a:gd name="connsiteX8" fmla="*/ 1875 w 4507200"/>
              <a:gd name="connsiteY8" fmla="*/ 4154750 h 5143500"/>
              <a:gd name="connsiteX9" fmla="*/ 0 w 4507200"/>
              <a:gd name="connsiteY9" fmla="*/ 4154750 h 5143500"/>
              <a:gd name="connsiteX10" fmla="*/ 0 w 4507200"/>
              <a:gd name="connsiteY10" fmla="*/ 2743201 h 5143500"/>
              <a:gd name="connsiteX11" fmla="*/ 0 w 4507200"/>
              <a:gd name="connsiteY11" fmla="*/ 2400299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07200" h="5143500">
                <a:moveTo>
                  <a:pt x="0" y="0"/>
                </a:moveTo>
                <a:lnTo>
                  <a:pt x="4507200" y="0"/>
                </a:lnTo>
                <a:lnTo>
                  <a:pt x="4507200" y="2400299"/>
                </a:lnTo>
                <a:lnTo>
                  <a:pt x="4507200" y="2743201"/>
                </a:lnTo>
                <a:lnTo>
                  <a:pt x="4507200" y="4012979"/>
                </a:lnTo>
                <a:lnTo>
                  <a:pt x="4507200" y="4154750"/>
                </a:lnTo>
                <a:lnTo>
                  <a:pt x="4507200" y="5143500"/>
                </a:lnTo>
                <a:lnTo>
                  <a:pt x="1875" y="5143500"/>
                </a:lnTo>
                <a:lnTo>
                  <a:pt x="1875" y="4154750"/>
                </a:lnTo>
                <a:lnTo>
                  <a:pt x="0" y="4154750"/>
                </a:lnTo>
                <a:lnTo>
                  <a:pt x="0" y="2743201"/>
                </a:lnTo>
                <a:lnTo>
                  <a:pt x="0" y="2400299"/>
                </a:lnTo>
                <a:close/>
              </a:path>
            </a:pathLst>
          </a:custGeom>
          <a:noFill/>
        </p:spPr>
        <p:txBody>
          <a:bodyPr wrap="square" lIns="0" tIns="0" rIns="0" bIns="0" anchor="ctr" anchorCtr="0"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  <a:lvl2pPr marL="0" indent="0">
              <a:buNone/>
              <a:defRPr sz="1800" b="0">
                <a:solidFill>
                  <a:schemeClr val="tx2"/>
                </a:solidFill>
              </a:defRPr>
            </a:lvl2pPr>
            <a:lvl3pPr>
              <a:defRPr sz="1400" b="0">
                <a:solidFill>
                  <a:schemeClr val="bg1"/>
                </a:solidFill>
              </a:defRPr>
            </a:lvl3pPr>
            <a:lvl4pPr>
              <a:defRPr sz="1400" b="0">
                <a:solidFill>
                  <a:schemeClr val="bg1"/>
                </a:solidFill>
              </a:defRPr>
            </a:lvl4pPr>
            <a:lvl5pPr>
              <a:defRPr sz="14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A7DDC8-57EC-4899-8FC8-8361FE513AB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EA0A5F-3D37-4F83-B8E9-4089D3056A6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86" name="Picture 28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B0F7DE-66EE-4BD9-8698-FF70E07BC3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549110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Alleen 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EDDABF2-5E46-47BA-A65A-1576DC95A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noProof="0"/>
              <a:t>Klik om de stijl te bewerken</a:t>
            </a:r>
            <a:endParaRPr lang="nl-NL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60D372F-0BD8-4485-AE80-B70D6B5C43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07B1E7-C041-4AC2-979A-1631485DF7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328184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15537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1_Foto dia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0445DE-B1C3-44D4-B035-F2B14E755D55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FC3461-0DB9-470F-97CE-BF2B7E0D6C90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9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C09ABA-E3B5-4736-92AF-AB7A63EA85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0BFD62-48E5-4A72-9021-81A0C1E23A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B75A0D-B9DC-46B2-8925-56933BE8ED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95E558D-0E5D-455E-8BD5-4741723624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F22F0F5-6754-4DD7-8C83-BF9E04BA74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CBC4CB9-1889-4DE0-B466-0A5CBF2290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8D60D08-1954-4311-8B40-DD5F7DC6F5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D29F81F-67EF-4EC6-B21C-3FFC6026D3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56F1D08-2151-4A6D-BAB0-B9F55B1858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091B560-6671-4CF6-B634-511F43ECB7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E61DFB-8A3C-4854-85D0-47664ADCE0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B4591B-D126-4D64-BB68-2BF68F1119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423BA2-90DF-492C-8800-F7F7E34C5B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529EB3-65E4-4A80-AC2A-6F0612B97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174E59-DD83-4AEE-90A5-3DC9DA2DDE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4A1FBE-71FE-48B3-9869-9CFAA32DB8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EBF868-B2F5-4A23-86F5-CDAB5D5FFD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289E2D6-3F09-46D0-B7A9-E8F4EE7ABD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D47B567-D78B-43A1-9F90-5EA321CF36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A4691E-209D-496C-BE38-14749154D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3916234-9567-4630-B495-F18464F2C3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2286C59-805B-4DBE-8B18-E989813345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4A5D31-4152-4E02-B001-52AF2E251B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9550C67-6E54-4420-8007-D235F492D97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2320B18-F6F8-4506-A4F9-19E0A7C3DD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15C89C8-26A7-4E2C-9A06-4998EC28D6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D72605-9DE0-40A9-906C-D027544A46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38217E-B0F9-4443-BCDE-5EDA824734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0502D6-237F-4DEE-9DBA-DE7436F295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046965-E6BA-4B58-A100-07539117D3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CDAD27-6C0A-4306-83D9-1C641EB92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1FBB0A3-3F1B-40EF-A0B2-18410C4B26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36C518-D537-470F-A19E-7BD5EC5CAD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4FC7AD-E2DF-40E0-9BD3-77F28FF05F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B1C2D4-AEE0-47BF-8B36-5AD9BF2F9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4FC2B5-651A-4F75-B7AE-78FC500412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AA949C8-027E-4B58-9834-FDF5D261EF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3BCCFB-E01B-43DD-81F2-459278E0F7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F92D42-9DE8-463F-86BB-7FCA6FF84F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E14C02-2AA1-4A50-B3F6-1E81D05E0E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080265-33BC-4FC6-B6AE-0F6161531B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5F1DDE-77E2-4152-AF38-9619ACB65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DE254B-0D3E-408F-8490-5AFDCCED8E82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7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D7498B-6274-40A1-838C-77FB611728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E3E3AD-1C9F-4617-A0D8-4C4E3EE191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1C97450-12DD-4C65-9D07-95CA714DD9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BA963B-A8D1-4CF6-A7C3-ED125BD574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F76838-A3CB-418D-A9F5-762D6CAAD0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2E1460-CE20-4A02-864B-D4462A35266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CBF6869-4FCE-47A6-B907-F8B8942DC5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C65AD9-C4F8-4A75-9CB5-F7D355D33E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8D6201-1228-439E-A0EF-BF2D4F3665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89E447-9B57-491C-85AF-46128CE5EF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FC9CC34-328C-4918-9516-EDB7A16542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454610-A800-40C0-82DE-C0309499B9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C9F49A-537F-448C-B91E-3F01D56601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8751BA0-C7DF-4CB9-BAF2-B67B4278B4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970B96-B65A-4EFF-9F56-EB98001266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525182-6F05-499B-80F4-8850718061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4D1E03-CE99-46A9-A949-A04EACC3E5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41E7373-5753-4FF3-AF83-B59B79247F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3027867-FA53-4B2E-B707-7F18DCA926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035FCF-12D3-48CE-B482-E923C7423A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F72D9D-3B72-4253-A17F-DB9CA57C1D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80EC24-147D-4A71-B6BB-1263A32A0E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8343E1-4B68-42B9-9F24-5AD4C98B5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25017F-2A76-4FA2-9117-20CBD78DC1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43E75DD-A54B-4096-9C88-14E7ADB224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E96451F-C9C3-48DD-B477-9AC2E3095D6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EDDD8B-083C-4097-93E8-AE73BB53FC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A069CD-84D1-4B7E-BFE2-F6054FE641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9444ED-4C7B-4BB4-9E20-F823450A45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6CF006-B0C3-4E3B-8E70-EB4CCD38B3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3DC9B3-9CE1-4930-BBC9-DC2A19004B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D9861F-5002-4D74-BF5C-EC96FAFC3C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1F9C5E-C665-45C8-8257-D800F6FBFC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07CCFF-87AF-4DEA-B093-B4919403DC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F2641BA-F7DA-4777-AA0B-EBAAA3E93B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EE0415-9DEC-49C0-B250-FCF4B5D6EE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7B0513-96DC-449E-B4CE-AEBFAA756C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9598B2-8E34-449D-A571-2FC6DA4732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6944F39-88D7-48DC-8FD2-A2C6946126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C19838-A195-4E80-B513-7AAE6CC3F8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E08B2C-EC44-424D-9E90-2914305DF1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250A683-AEFA-4633-8EBC-1AD2BEB591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58FB07-55D2-4352-9993-007A398A5DE1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84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52473A0-6E31-4836-B983-DF51E5B37F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73484B3-CDD2-4F30-87BF-332A26A3F3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6298DD-8CFA-495C-BCA4-01C29A0E7C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7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2E3AE7-D8DD-4A45-B408-ACD691EC5B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01B0AF-66EC-4B8A-A91A-61EAEFAED4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6A06C55-69C2-4BD6-BD5B-B5B751B50C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D2DCB2-1713-4F41-BA01-3D78425BDE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267A92-3F85-4C25-9050-713177E4B1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E807E72-F063-47B4-A831-3699BFE008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E95DD36-402B-4390-A7C9-9ECB2A2759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267E08-014C-49F2-AD9E-9F6CD12B68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43C3C6-D735-433D-9EC9-F44C18806E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F40E89-242E-4FA7-B326-531E318141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D42D586-5256-4DD4-9BBB-C48EF0604E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7FFF25-8884-431C-8796-119E477D01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4AFC2FA-9A9F-4843-80D5-CDC2FA64E5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2879BC-731C-4DCE-98B8-29FCF50EAA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2B56F33-9EB0-4BB2-BB38-FC607CB81D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C1E3CE2-C740-45E3-B159-366DA95CAC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C1B7E32-4279-4672-81C8-6B6D44A50D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8EF5CD-BFC7-4904-9849-C48C3A3608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3B8826-49BB-45B3-8743-9B4402D97D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AFAE75-C3C5-4529-99A8-0EC8C276DA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92E9F7-CFC0-42BA-BC46-60B7B5A9864D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1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66C4598-E754-445C-98AD-41E9E69EF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35BCF2-ACDC-4AD2-B10A-2D60F7831F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2583199-02AC-4BB4-8F6B-782EFE5D57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7FAA829-A95C-4E9E-85B2-CDCCA7F7A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1245E42-D9FC-4E6E-86E6-FF7EA34C06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3EEB3A-2D25-4091-A9B6-9496CF3596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B74FE18-2483-4DEA-9C6D-EBDC73069E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B2B233-722D-44CF-845D-A1CC74B63C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C03209-0FEF-48E0-B116-19004570D0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357DF4-D2EC-45FF-BEAB-FFC71E5FBE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EB134FF-C231-40AC-8C1A-FF90466429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F9F50F-709A-4244-9CEE-837390FB0E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1D05D6-46A5-4D10-BB61-A34EF2DC96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2F12A6E-9558-4E10-BC7D-D34FA8EFA6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E12A494-05B6-4313-AE47-23385C6CA1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22DBE8-10C8-4CE6-A219-B12CC7E00D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B6DAACD-C5E4-4E2B-8BCC-DFC347C37F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572DDBC-5081-4052-A0FB-FA7C134BD3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60209B-685D-45F9-A34D-C5269A58CB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D4D816-6041-44A2-A9F6-33DB5921E7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1D8A8E-71C7-4161-8CD3-A629C57A1F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B440EB-AC49-4EC2-9CBD-2849175CF7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C5FEDE0-5298-434E-B7E5-D504A0DB72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3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B4D944F-EB7F-49C6-BE11-EB7956397AF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4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4BB5A9C-C820-4B9B-956E-74B19D9503A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5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DE8733A-6F93-4FB9-8437-A731F7F35C0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6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0F2E34F-C02A-4396-B7FF-6913A5106B7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7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A367BBF-B7DD-4B0F-909C-6EE5724714C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8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DB4315-77A0-4D57-A5F7-8F1B3492483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9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1FAF5A-9253-48D5-B854-585C038BC0E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317CC3-C8AD-4E01-9102-E810D4CD36E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99F6514-98E6-4EE9-9536-8079F9F36001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AE16F62-F5E1-456A-A206-79680389CA2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0"/>
            <a:ext cx="8455544" cy="4324909"/>
          </a:xfrm>
          <a:custGeom>
            <a:avLst/>
            <a:gdLst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3 w 8455544"/>
              <a:gd name="connsiteY4" fmla="*/ 40909 h 4324909"/>
              <a:gd name="connsiteX5" fmla="*/ 8455544 w 8455544"/>
              <a:gd name="connsiteY5" fmla="*/ 40909 h 4324909"/>
              <a:gd name="connsiteX6" fmla="*/ 8455544 w 8455544"/>
              <a:gd name="connsiteY6" fmla="*/ 2097324 h 4324909"/>
              <a:gd name="connsiteX7" fmla="*/ 6412976 w 8455544"/>
              <a:gd name="connsiteY7" fmla="*/ 4324909 h 4324909"/>
              <a:gd name="connsiteX8" fmla="*/ 6287311 w 8455544"/>
              <a:gd name="connsiteY8" fmla="*/ 4324909 h 4324909"/>
              <a:gd name="connsiteX9" fmla="*/ 6225541 w 8455544"/>
              <a:gd name="connsiteY9" fmla="*/ 4324909 h 4324909"/>
              <a:gd name="connsiteX10" fmla="*/ 6213424 w 8455544"/>
              <a:gd name="connsiteY10" fmla="*/ 4324909 h 4324909"/>
              <a:gd name="connsiteX11" fmla="*/ 6115102 w 8455544"/>
              <a:gd name="connsiteY11" fmla="*/ 4324909 h 4324909"/>
              <a:gd name="connsiteX12" fmla="*/ 5988854 w 8455544"/>
              <a:gd name="connsiteY12" fmla="*/ 4324909 h 4324909"/>
              <a:gd name="connsiteX13" fmla="*/ 5831190 w 8455544"/>
              <a:gd name="connsiteY13" fmla="*/ 4324909 h 4324909"/>
              <a:gd name="connsiteX14" fmla="*/ 5638619 w 8455544"/>
              <a:gd name="connsiteY14" fmla="*/ 4324909 h 4324909"/>
              <a:gd name="connsiteX15" fmla="*/ 5407650 w 8455544"/>
              <a:gd name="connsiteY15" fmla="*/ 4324909 h 4324909"/>
              <a:gd name="connsiteX16" fmla="*/ 5134793 w 8455544"/>
              <a:gd name="connsiteY16" fmla="*/ 4324909 h 4324909"/>
              <a:gd name="connsiteX17" fmla="*/ 4816556 w 8455544"/>
              <a:gd name="connsiteY17" fmla="*/ 4324909 h 4324909"/>
              <a:gd name="connsiteX18" fmla="*/ 4449449 w 8455544"/>
              <a:gd name="connsiteY18" fmla="*/ 4324909 h 4324909"/>
              <a:gd name="connsiteX19" fmla="*/ 4029981 w 8455544"/>
              <a:gd name="connsiteY19" fmla="*/ 4324909 h 4324909"/>
              <a:gd name="connsiteX20" fmla="*/ 0 w 8455544"/>
              <a:gd name="connsiteY20" fmla="*/ 4324909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3 w 8455544"/>
              <a:gd name="connsiteY4" fmla="*/ 40909 h 4324909"/>
              <a:gd name="connsiteX5" fmla="*/ 8455544 w 8455544"/>
              <a:gd name="connsiteY5" fmla="*/ 2097324 h 4324909"/>
              <a:gd name="connsiteX6" fmla="*/ 6412976 w 8455544"/>
              <a:gd name="connsiteY6" fmla="*/ 4324909 h 4324909"/>
              <a:gd name="connsiteX7" fmla="*/ 6287311 w 8455544"/>
              <a:gd name="connsiteY7" fmla="*/ 4324909 h 4324909"/>
              <a:gd name="connsiteX8" fmla="*/ 6225541 w 8455544"/>
              <a:gd name="connsiteY8" fmla="*/ 4324909 h 4324909"/>
              <a:gd name="connsiteX9" fmla="*/ 6213424 w 8455544"/>
              <a:gd name="connsiteY9" fmla="*/ 4324909 h 4324909"/>
              <a:gd name="connsiteX10" fmla="*/ 6115102 w 8455544"/>
              <a:gd name="connsiteY10" fmla="*/ 4324909 h 4324909"/>
              <a:gd name="connsiteX11" fmla="*/ 5988854 w 8455544"/>
              <a:gd name="connsiteY11" fmla="*/ 4324909 h 4324909"/>
              <a:gd name="connsiteX12" fmla="*/ 5831190 w 8455544"/>
              <a:gd name="connsiteY12" fmla="*/ 4324909 h 4324909"/>
              <a:gd name="connsiteX13" fmla="*/ 5638619 w 8455544"/>
              <a:gd name="connsiteY13" fmla="*/ 4324909 h 4324909"/>
              <a:gd name="connsiteX14" fmla="*/ 5407650 w 8455544"/>
              <a:gd name="connsiteY14" fmla="*/ 4324909 h 4324909"/>
              <a:gd name="connsiteX15" fmla="*/ 5134793 w 8455544"/>
              <a:gd name="connsiteY15" fmla="*/ 4324909 h 4324909"/>
              <a:gd name="connsiteX16" fmla="*/ 4816556 w 8455544"/>
              <a:gd name="connsiteY16" fmla="*/ 4324909 h 4324909"/>
              <a:gd name="connsiteX17" fmla="*/ 4449449 w 8455544"/>
              <a:gd name="connsiteY17" fmla="*/ 4324909 h 4324909"/>
              <a:gd name="connsiteX18" fmla="*/ 4029981 w 8455544"/>
              <a:gd name="connsiteY18" fmla="*/ 4324909 h 4324909"/>
              <a:gd name="connsiteX19" fmla="*/ 0 w 8455544"/>
              <a:gd name="connsiteY19" fmla="*/ 4324909 h 4324909"/>
              <a:gd name="connsiteX20" fmla="*/ 0 w 8455544"/>
              <a:gd name="connsiteY20" fmla="*/ 0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6225541 w 8455544"/>
              <a:gd name="connsiteY2" fmla="*/ 0 h 4324909"/>
              <a:gd name="connsiteX3" fmla="*/ 8455543 w 8455544"/>
              <a:gd name="connsiteY3" fmla="*/ 0 h 4324909"/>
              <a:gd name="connsiteX4" fmla="*/ 8455544 w 8455544"/>
              <a:gd name="connsiteY4" fmla="*/ 2097324 h 4324909"/>
              <a:gd name="connsiteX5" fmla="*/ 6412976 w 8455544"/>
              <a:gd name="connsiteY5" fmla="*/ 4324909 h 4324909"/>
              <a:gd name="connsiteX6" fmla="*/ 6287311 w 8455544"/>
              <a:gd name="connsiteY6" fmla="*/ 4324909 h 4324909"/>
              <a:gd name="connsiteX7" fmla="*/ 6225541 w 8455544"/>
              <a:gd name="connsiteY7" fmla="*/ 4324909 h 4324909"/>
              <a:gd name="connsiteX8" fmla="*/ 6213424 w 8455544"/>
              <a:gd name="connsiteY8" fmla="*/ 4324909 h 4324909"/>
              <a:gd name="connsiteX9" fmla="*/ 6115102 w 8455544"/>
              <a:gd name="connsiteY9" fmla="*/ 4324909 h 4324909"/>
              <a:gd name="connsiteX10" fmla="*/ 5988854 w 8455544"/>
              <a:gd name="connsiteY10" fmla="*/ 4324909 h 4324909"/>
              <a:gd name="connsiteX11" fmla="*/ 5831190 w 8455544"/>
              <a:gd name="connsiteY11" fmla="*/ 4324909 h 4324909"/>
              <a:gd name="connsiteX12" fmla="*/ 5638619 w 8455544"/>
              <a:gd name="connsiteY12" fmla="*/ 4324909 h 4324909"/>
              <a:gd name="connsiteX13" fmla="*/ 5407650 w 8455544"/>
              <a:gd name="connsiteY13" fmla="*/ 4324909 h 4324909"/>
              <a:gd name="connsiteX14" fmla="*/ 5134793 w 8455544"/>
              <a:gd name="connsiteY14" fmla="*/ 4324909 h 4324909"/>
              <a:gd name="connsiteX15" fmla="*/ 4816556 w 8455544"/>
              <a:gd name="connsiteY15" fmla="*/ 4324909 h 4324909"/>
              <a:gd name="connsiteX16" fmla="*/ 4449449 w 8455544"/>
              <a:gd name="connsiteY16" fmla="*/ 4324909 h 4324909"/>
              <a:gd name="connsiteX17" fmla="*/ 4029981 w 8455544"/>
              <a:gd name="connsiteY17" fmla="*/ 4324909 h 4324909"/>
              <a:gd name="connsiteX18" fmla="*/ 0 w 8455544"/>
              <a:gd name="connsiteY18" fmla="*/ 4324909 h 4324909"/>
              <a:gd name="connsiteX19" fmla="*/ 0 w 8455544"/>
              <a:gd name="connsiteY19" fmla="*/ 0 h 4324909"/>
              <a:gd name="connsiteX0" fmla="*/ 0 w 8455544"/>
              <a:gd name="connsiteY0" fmla="*/ 0 h 4324909"/>
              <a:gd name="connsiteX1" fmla="*/ 4029980 w 8455544"/>
              <a:gd name="connsiteY1" fmla="*/ 0 h 4324909"/>
              <a:gd name="connsiteX2" fmla="*/ 8455543 w 8455544"/>
              <a:gd name="connsiteY2" fmla="*/ 0 h 4324909"/>
              <a:gd name="connsiteX3" fmla="*/ 8455544 w 8455544"/>
              <a:gd name="connsiteY3" fmla="*/ 2097324 h 4324909"/>
              <a:gd name="connsiteX4" fmla="*/ 6412976 w 8455544"/>
              <a:gd name="connsiteY4" fmla="*/ 4324909 h 4324909"/>
              <a:gd name="connsiteX5" fmla="*/ 6287311 w 8455544"/>
              <a:gd name="connsiteY5" fmla="*/ 4324909 h 4324909"/>
              <a:gd name="connsiteX6" fmla="*/ 6225541 w 8455544"/>
              <a:gd name="connsiteY6" fmla="*/ 4324909 h 4324909"/>
              <a:gd name="connsiteX7" fmla="*/ 6213424 w 8455544"/>
              <a:gd name="connsiteY7" fmla="*/ 4324909 h 4324909"/>
              <a:gd name="connsiteX8" fmla="*/ 6115102 w 8455544"/>
              <a:gd name="connsiteY8" fmla="*/ 4324909 h 4324909"/>
              <a:gd name="connsiteX9" fmla="*/ 5988854 w 8455544"/>
              <a:gd name="connsiteY9" fmla="*/ 4324909 h 4324909"/>
              <a:gd name="connsiteX10" fmla="*/ 5831190 w 8455544"/>
              <a:gd name="connsiteY10" fmla="*/ 4324909 h 4324909"/>
              <a:gd name="connsiteX11" fmla="*/ 5638619 w 8455544"/>
              <a:gd name="connsiteY11" fmla="*/ 4324909 h 4324909"/>
              <a:gd name="connsiteX12" fmla="*/ 5407650 w 8455544"/>
              <a:gd name="connsiteY12" fmla="*/ 4324909 h 4324909"/>
              <a:gd name="connsiteX13" fmla="*/ 5134793 w 8455544"/>
              <a:gd name="connsiteY13" fmla="*/ 4324909 h 4324909"/>
              <a:gd name="connsiteX14" fmla="*/ 4816556 w 8455544"/>
              <a:gd name="connsiteY14" fmla="*/ 4324909 h 4324909"/>
              <a:gd name="connsiteX15" fmla="*/ 4449449 w 8455544"/>
              <a:gd name="connsiteY15" fmla="*/ 4324909 h 4324909"/>
              <a:gd name="connsiteX16" fmla="*/ 4029981 w 8455544"/>
              <a:gd name="connsiteY16" fmla="*/ 4324909 h 4324909"/>
              <a:gd name="connsiteX17" fmla="*/ 0 w 8455544"/>
              <a:gd name="connsiteY17" fmla="*/ 4324909 h 4324909"/>
              <a:gd name="connsiteX18" fmla="*/ 0 w 8455544"/>
              <a:gd name="connsiteY18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988854 w 8455544"/>
              <a:gd name="connsiteY8" fmla="*/ 4324909 h 4324909"/>
              <a:gd name="connsiteX9" fmla="*/ 5831190 w 8455544"/>
              <a:gd name="connsiteY9" fmla="*/ 4324909 h 4324909"/>
              <a:gd name="connsiteX10" fmla="*/ 5638619 w 8455544"/>
              <a:gd name="connsiteY10" fmla="*/ 4324909 h 4324909"/>
              <a:gd name="connsiteX11" fmla="*/ 5407650 w 8455544"/>
              <a:gd name="connsiteY11" fmla="*/ 4324909 h 4324909"/>
              <a:gd name="connsiteX12" fmla="*/ 5134793 w 8455544"/>
              <a:gd name="connsiteY12" fmla="*/ 4324909 h 4324909"/>
              <a:gd name="connsiteX13" fmla="*/ 4816556 w 8455544"/>
              <a:gd name="connsiteY13" fmla="*/ 4324909 h 4324909"/>
              <a:gd name="connsiteX14" fmla="*/ 4449449 w 8455544"/>
              <a:gd name="connsiteY14" fmla="*/ 4324909 h 4324909"/>
              <a:gd name="connsiteX15" fmla="*/ 4029981 w 8455544"/>
              <a:gd name="connsiteY15" fmla="*/ 4324909 h 4324909"/>
              <a:gd name="connsiteX16" fmla="*/ 0 w 8455544"/>
              <a:gd name="connsiteY16" fmla="*/ 4324909 h 4324909"/>
              <a:gd name="connsiteX17" fmla="*/ 0 w 8455544"/>
              <a:gd name="connsiteY17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988854 w 8455544"/>
              <a:gd name="connsiteY8" fmla="*/ 4324909 h 4324909"/>
              <a:gd name="connsiteX9" fmla="*/ 5831190 w 8455544"/>
              <a:gd name="connsiteY9" fmla="*/ 4324909 h 4324909"/>
              <a:gd name="connsiteX10" fmla="*/ 5407650 w 8455544"/>
              <a:gd name="connsiteY10" fmla="*/ 4324909 h 4324909"/>
              <a:gd name="connsiteX11" fmla="*/ 5134793 w 8455544"/>
              <a:gd name="connsiteY11" fmla="*/ 4324909 h 4324909"/>
              <a:gd name="connsiteX12" fmla="*/ 4816556 w 8455544"/>
              <a:gd name="connsiteY12" fmla="*/ 4324909 h 4324909"/>
              <a:gd name="connsiteX13" fmla="*/ 4449449 w 8455544"/>
              <a:gd name="connsiteY13" fmla="*/ 4324909 h 4324909"/>
              <a:gd name="connsiteX14" fmla="*/ 4029981 w 8455544"/>
              <a:gd name="connsiteY14" fmla="*/ 4324909 h 4324909"/>
              <a:gd name="connsiteX15" fmla="*/ 0 w 8455544"/>
              <a:gd name="connsiteY15" fmla="*/ 4324909 h 4324909"/>
              <a:gd name="connsiteX16" fmla="*/ 0 w 8455544"/>
              <a:gd name="connsiteY16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6115102 w 8455544"/>
              <a:gd name="connsiteY7" fmla="*/ 4324909 h 4324909"/>
              <a:gd name="connsiteX8" fmla="*/ 5831190 w 8455544"/>
              <a:gd name="connsiteY8" fmla="*/ 4324909 h 4324909"/>
              <a:gd name="connsiteX9" fmla="*/ 5407650 w 8455544"/>
              <a:gd name="connsiteY9" fmla="*/ 4324909 h 4324909"/>
              <a:gd name="connsiteX10" fmla="*/ 5134793 w 8455544"/>
              <a:gd name="connsiteY10" fmla="*/ 4324909 h 4324909"/>
              <a:gd name="connsiteX11" fmla="*/ 4816556 w 8455544"/>
              <a:gd name="connsiteY11" fmla="*/ 4324909 h 4324909"/>
              <a:gd name="connsiteX12" fmla="*/ 4449449 w 8455544"/>
              <a:gd name="connsiteY12" fmla="*/ 4324909 h 4324909"/>
              <a:gd name="connsiteX13" fmla="*/ 4029981 w 8455544"/>
              <a:gd name="connsiteY13" fmla="*/ 4324909 h 4324909"/>
              <a:gd name="connsiteX14" fmla="*/ 0 w 8455544"/>
              <a:gd name="connsiteY14" fmla="*/ 4324909 h 4324909"/>
              <a:gd name="connsiteX15" fmla="*/ 0 w 8455544"/>
              <a:gd name="connsiteY15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6213424 w 8455544"/>
              <a:gd name="connsiteY6" fmla="*/ 4324909 h 4324909"/>
              <a:gd name="connsiteX7" fmla="*/ 5831190 w 8455544"/>
              <a:gd name="connsiteY7" fmla="*/ 4324909 h 4324909"/>
              <a:gd name="connsiteX8" fmla="*/ 5407650 w 8455544"/>
              <a:gd name="connsiteY8" fmla="*/ 4324909 h 4324909"/>
              <a:gd name="connsiteX9" fmla="*/ 5134793 w 8455544"/>
              <a:gd name="connsiteY9" fmla="*/ 4324909 h 4324909"/>
              <a:gd name="connsiteX10" fmla="*/ 4816556 w 8455544"/>
              <a:gd name="connsiteY10" fmla="*/ 4324909 h 4324909"/>
              <a:gd name="connsiteX11" fmla="*/ 4449449 w 8455544"/>
              <a:gd name="connsiteY11" fmla="*/ 4324909 h 4324909"/>
              <a:gd name="connsiteX12" fmla="*/ 4029981 w 8455544"/>
              <a:gd name="connsiteY12" fmla="*/ 4324909 h 4324909"/>
              <a:gd name="connsiteX13" fmla="*/ 0 w 8455544"/>
              <a:gd name="connsiteY13" fmla="*/ 4324909 h 4324909"/>
              <a:gd name="connsiteX14" fmla="*/ 0 w 8455544"/>
              <a:gd name="connsiteY14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6225541 w 8455544"/>
              <a:gd name="connsiteY5" fmla="*/ 4324909 h 4324909"/>
              <a:gd name="connsiteX6" fmla="*/ 5831190 w 8455544"/>
              <a:gd name="connsiteY6" fmla="*/ 4324909 h 4324909"/>
              <a:gd name="connsiteX7" fmla="*/ 5407650 w 8455544"/>
              <a:gd name="connsiteY7" fmla="*/ 4324909 h 4324909"/>
              <a:gd name="connsiteX8" fmla="*/ 5134793 w 8455544"/>
              <a:gd name="connsiteY8" fmla="*/ 4324909 h 4324909"/>
              <a:gd name="connsiteX9" fmla="*/ 4816556 w 8455544"/>
              <a:gd name="connsiteY9" fmla="*/ 4324909 h 4324909"/>
              <a:gd name="connsiteX10" fmla="*/ 4449449 w 8455544"/>
              <a:gd name="connsiteY10" fmla="*/ 4324909 h 4324909"/>
              <a:gd name="connsiteX11" fmla="*/ 4029981 w 8455544"/>
              <a:gd name="connsiteY11" fmla="*/ 4324909 h 4324909"/>
              <a:gd name="connsiteX12" fmla="*/ 0 w 8455544"/>
              <a:gd name="connsiteY12" fmla="*/ 4324909 h 4324909"/>
              <a:gd name="connsiteX13" fmla="*/ 0 w 8455544"/>
              <a:gd name="connsiteY13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6287311 w 8455544"/>
              <a:gd name="connsiteY4" fmla="*/ 4324909 h 4324909"/>
              <a:gd name="connsiteX5" fmla="*/ 5831190 w 8455544"/>
              <a:gd name="connsiteY5" fmla="*/ 4324909 h 4324909"/>
              <a:gd name="connsiteX6" fmla="*/ 5407650 w 8455544"/>
              <a:gd name="connsiteY6" fmla="*/ 4324909 h 4324909"/>
              <a:gd name="connsiteX7" fmla="*/ 5134793 w 8455544"/>
              <a:gd name="connsiteY7" fmla="*/ 4324909 h 4324909"/>
              <a:gd name="connsiteX8" fmla="*/ 4816556 w 8455544"/>
              <a:gd name="connsiteY8" fmla="*/ 4324909 h 4324909"/>
              <a:gd name="connsiteX9" fmla="*/ 4449449 w 8455544"/>
              <a:gd name="connsiteY9" fmla="*/ 4324909 h 4324909"/>
              <a:gd name="connsiteX10" fmla="*/ 4029981 w 8455544"/>
              <a:gd name="connsiteY10" fmla="*/ 4324909 h 4324909"/>
              <a:gd name="connsiteX11" fmla="*/ 0 w 8455544"/>
              <a:gd name="connsiteY11" fmla="*/ 4324909 h 4324909"/>
              <a:gd name="connsiteX12" fmla="*/ 0 w 8455544"/>
              <a:gd name="connsiteY12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831190 w 8455544"/>
              <a:gd name="connsiteY4" fmla="*/ 4324909 h 4324909"/>
              <a:gd name="connsiteX5" fmla="*/ 5407650 w 8455544"/>
              <a:gd name="connsiteY5" fmla="*/ 4324909 h 4324909"/>
              <a:gd name="connsiteX6" fmla="*/ 5134793 w 8455544"/>
              <a:gd name="connsiteY6" fmla="*/ 4324909 h 4324909"/>
              <a:gd name="connsiteX7" fmla="*/ 4816556 w 8455544"/>
              <a:gd name="connsiteY7" fmla="*/ 4324909 h 4324909"/>
              <a:gd name="connsiteX8" fmla="*/ 4449449 w 8455544"/>
              <a:gd name="connsiteY8" fmla="*/ 4324909 h 4324909"/>
              <a:gd name="connsiteX9" fmla="*/ 4029981 w 8455544"/>
              <a:gd name="connsiteY9" fmla="*/ 4324909 h 4324909"/>
              <a:gd name="connsiteX10" fmla="*/ 0 w 8455544"/>
              <a:gd name="connsiteY10" fmla="*/ 4324909 h 4324909"/>
              <a:gd name="connsiteX11" fmla="*/ 0 w 8455544"/>
              <a:gd name="connsiteY11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407650 w 8455544"/>
              <a:gd name="connsiteY4" fmla="*/ 4324909 h 4324909"/>
              <a:gd name="connsiteX5" fmla="*/ 5134793 w 8455544"/>
              <a:gd name="connsiteY5" fmla="*/ 4324909 h 4324909"/>
              <a:gd name="connsiteX6" fmla="*/ 4816556 w 8455544"/>
              <a:gd name="connsiteY6" fmla="*/ 4324909 h 4324909"/>
              <a:gd name="connsiteX7" fmla="*/ 4449449 w 8455544"/>
              <a:gd name="connsiteY7" fmla="*/ 4324909 h 4324909"/>
              <a:gd name="connsiteX8" fmla="*/ 4029981 w 8455544"/>
              <a:gd name="connsiteY8" fmla="*/ 4324909 h 4324909"/>
              <a:gd name="connsiteX9" fmla="*/ 0 w 8455544"/>
              <a:gd name="connsiteY9" fmla="*/ 4324909 h 4324909"/>
              <a:gd name="connsiteX10" fmla="*/ 0 w 8455544"/>
              <a:gd name="connsiteY10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5134793 w 8455544"/>
              <a:gd name="connsiteY4" fmla="*/ 4324909 h 4324909"/>
              <a:gd name="connsiteX5" fmla="*/ 4816556 w 8455544"/>
              <a:gd name="connsiteY5" fmla="*/ 4324909 h 4324909"/>
              <a:gd name="connsiteX6" fmla="*/ 4449449 w 8455544"/>
              <a:gd name="connsiteY6" fmla="*/ 4324909 h 4324909"/>
              <a:gd name="connsiteX7" fmla="*/ 4029981 w 8455544"/>
              <a:gd name="connsiteY7" fmla="*/ 4324909 h 4324909"/>
              <a:gd name="connsiteX8" fmla="*/ 0 w 8455544"/>
              <a:gd name="connsiteY8" fmla="*/ 4324909 h 4324909"/>
              <a:gd name="connsiteX9" fmla="*/ 0 w 8455544"/>
              <a:gd name="connsiteY9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816556 w 8455544"/>
              <a:gd name="connsiteY4" fmla="*/ 4324909 h 4324909"/>
              <a:gd name="connsiteX5" fmla="*/ 4449449 w 8455544"/>
              <a:gd name="connsiteY5" fmla="*/ 4324909 h 4324909"/>
              <a:gd name="connsiteX6" fmla="*/ 4029981 w 8455544"/>
              <a:gd name="connsiteY6" fmla="*/ 4324909 h 4324909"/>
              <a:gd name="connsiteX7" fmla="*/ 0 w 8455544"/>
              <a:gd name="connsiteY7" fmla="*/ 4324909 h 4324909"/>
              <a:gd name="connsiteX8" fmla="*/ 0 w 8455544"/>
              <a:gd name="connsiteY8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449449 w 8455544"/>
              <a:gd name="connsiteY4" fmla="*/ 4324909 h 4324909"/>
              <a:gd name="connsiteX5" fmla="*/ 4029981 w 8455544"/>
              <a:gd name="connsiteY5" fmla="*/ 4324909 h 4324909"/>
              <a:gd name="connsiteX6" fmla="*/ 0 w 8455544"/>
              <a:gd name="connsiteY6" fmla="*/ 4324909 h 4324909"/>
              <a:gd name="connsiteX7" fmla="*/ 0 w 8455544"/>
              <a:gd name="connsiteY7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4029981 w 8455544"/>
              <a:gd name="connsiteY4" fmla="*/ 4324909 h 4324909"/>
              <a:gd name="connsiteX5" fmla="*/ 0 w 8455544"/>
              <a:gd name="connsiteY5" fmla="*/ 4324909 h 4324909"/>
              <a:gd name="connsiteX6" fmla="*/ 0 w 8455544"/>
              <a:gd name="connsiteY6" fmla="*/ 0 h 4324909"/>
              <a:gd name="connsiteX0" fmla="*/ 0 w 8455544"/>
              <a:gd name="connsiteY0" fmla="*/ 0 h 4324909"/>
              <a:gd name="connsiteX1" fmla="*/ 8455543 w 8455544"/>
              <a:gd name="connsiteY1" fmla="*/ 0 h 4324909"/>
              <a:gd name="connsiteX2" fmla="*/ 8455544 w 8455544"/>
              <a:gd name="connsiteY2" fmla="*/ 2097324 h 4324909"/>
              <a:gd name="connsiteX3" fmla="*/ 6412976 w 8455544"/>
              <a:gd name="connsiteY3" fmla="*/ 4324909 h 4324909"/>
              <a:gd name="connsiteX4" fmla="*/ 0 w 8455544"/>
              <a:gd name="connsiteY4" fmla="*/ 4324909 h 4324909"/>
              <a:gd name="connsiteX5" fmla="*/ 0 w 8455544"/>
              <a:gd name="connsiteY5" fmla="*/ 0 h 4324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55544" h="4324909">
                <a:moveTo>
                  <a:pt x="0" y="0"/>
                </a:moveTo>
                <a:lnTo>
                  <a:pt x="8455543" y="0"/>
                </a:lnTo>
                <a:cubicBezTo>
                  <a:pt x="8455543" y="699108"/>
                  <a:pt x="8455544" y="1398216"/>
                  <a:pt x="8455544" y="2097324"/>
                </a:cubicBezTo>
                <a:cubicBezTo>
                  <a:pt x="8455544" y="3206362"/>
                  <a:pt x="7784901" y="4324909"/>
                  <a:pt x="6412976" y="4324909"/>
                </a:cubicBezTo>
                <a:lnTo>
                  <a:pt x="0" y="4324909"/>
                </a:lnTo>
                <a:lnTo>
                  <a:pt x="0" y="0"/>
                </a:ln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noProof="0"/>
              <a:t>Klik op het pictogram als u een afbeelding wilt toevoegen</a:t>
            </a:r>
            <a:endParaRPr lang="nl-NL" noProof="0" dirty="0"/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425F3A2-8737-4429-8D80-098BE65C5684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E6F106-5B52-456C-A0B4-EC147835DEF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BDB07C-8ACF-4308-838D-6477B8930B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1" name="Picture 29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FF8F42-5604-44E7-AAA1-761533DAE7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21523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2_Foto dia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" name="Group 13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923841A-A525-4595-8B71-13FC671D87DC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B9B6C4-01B7-4938-922E-E4AD4497C0E1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42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E407E09-AFB6-44C1-A352-4D3F8CA5B4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3FA809-41B7-4764-960B-67129BC3F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8B3757F-7401-46B5-B8C7-467EFF0329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4C88EC-38A4-4AF2-8778-B1F4C14637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99A906-8B5F-4272-87A4-9D7A2A3D8C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B63801-7E3B-4A24-9B57-1FD1D0D93B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6FF481B-604D-490B-A7AF-E50294C2DB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264367E-6905-4C3C-B1B5-E976C1AEEF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AD3323-103A-4DD3-BB72-2405AABA26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1C619F-8D37-4A2D-8F76-1B3144F5CC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63453D-D05A-43F3-A45D-063891B050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075D126-2DE6-4EFA-A7B7-BA0C1304A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88F622-2AFB-4B38-BEF2-654EB8FCEB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2C4701-ABAD-4FCC-B1E5-BE52FBC65C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CE83E5-FA5D-4CAC-B06A-31209E80A4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79595D-5642-4918-9E3C-FEEAC2F493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8C0B81-73B4-45FC-B73D-635F37245A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75CFDA-7962-4072-A702-39B0F0D948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340784-6375-4EC3-8233-EFF46227F2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27A8E88-C763-4D0B-8D53-B785BFC1C0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CC1FAE-7D1A-4D04-A567-FA09368102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D3DA53-58A5-487E-9BA8-E0CF5B71C7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F2A39E-E976-406E-B78E-489B620F5B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8E4C3FC-A44A-4630-AB16-D60471FCEE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89074E-7ED9-4AD3-89CF-45BFDDF36F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1B416B9-BA9D-4AB9-B268-BE0E15CEF3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9E85F4-954E-47BB-98A7-41E956D8F7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F73F6DA-7CBC-4651-80AC-1DA86DCE85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A41833-7994-429F-9CE1-C04FF042E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551BBA4-9DC7-418D-9E42-544003E10F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93345F-8656-4FDF-AB98-A8AA5B5047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05C468A-E1E9-4773-8DC0-A7889520A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85A1C8-95A0-49FD-9564-2FCCF33C0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498A10-819C-4F36-81F0-6CE7666A9F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794993-0F2B-496D-AA9B-E52CD54D9A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F2809D-39E7-47DC-BF43-BC2EB8EFD4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9813AF-49FD-467A-BEC2-42C4846A14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503BC1-3740-4658-9A00-0EF347A6F0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91C2A6-B9FC-477A-A932-924537336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D7D53E6-2427-4568-BA0D-28125E5BB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BC2CDC-526B-4909-A0D8-7726912E00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C5CB8F-5646-45ED-AC1A-3F119D1702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AEC89D2-1455-4220-9710-90B2EBE0851F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00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A023E26-8192-43FB-8A68-DC8ECE75FA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E3E29AE-C782-464E-A62B-FC76C00B67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AE0618-4340-4B11-A186-E86EA8EFCB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C6DF681-C31C-4FCA-9810-4FE56A4AC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9A9DAA3-028A-4F58-B554-1D282C4EA9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470714-5437-4D08-83E3-C34AF876F4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B10D91-B72A-4FD8-A0E1-D12F5873F2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42DF15-3BCE-46D9-B915-231CF1AAAF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5E28C2-DE91-4D24-AD32-119F0FB20C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9066AE-592E-4C70-BB5A-ECE4174083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4A15E54-A441-42CB-96B5-6FAF60A156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43818C5-F3D8-4FA0-AB9A-3A82C2FAC0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186418-989B-457C-8D0B-66B97C20EE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F76B5C-B912-457C-8B1B-A51D13374C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84485C-1BF0-4BDF-B8E4-45220F47FD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539B72-BE93-4F5F-A8FE-6025B06031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A3CEBD-32F0-4849-87E1-FB2A9D258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7D0468-F71D-41F4-91B9-955A32CF27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0147A8D-09A1-4E24-BC94-4EC00F3348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C493625-F430-4686-929A-BD7EDED8C8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DA06A7-1EC0-43A7-8B69-79879160F5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BD184E-3E02-495E-9106-AAFAE363A9A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C90A18-B957-4480-8586-25B8B5BFB1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12CF7B2-E973-4955-BFEB-50B04502E91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4485BB-0860-49B7-8E8A-9B6A5B00ED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5C17A4-A0D8-4B0F-B98E-28F1BAD16E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006EDF-58FB-44B9-8F17-EEBE04475E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1F9777-0ABD-4A90-A211-99A7C50A48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5DCA63-AF8F-475E-A71F-6C9DE054A5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BF981C6-A3CE-4D12-A6FD-86E044D459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C753A2E-176B-4EE7-B34E-F5E5243A62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62BFD9-7E62-45FB-B32F-E5019E58FC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4633CE7-B612-4819-BC4D-FCB45C7E96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0FE1BF-E237-4C8B-8A7C-C673DA65E7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240A3C-D8D0-4A94-B27E-CE255E1848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8987675-5368-4547-B275-21352F870A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B51950-D417-46E3-88AF-FA59006E4D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FFE2F84-5A8A-4C7A-8D58-DB824FB869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4F796F-E08C-4DF5-AE36-A38A05308D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81A705-5BC4-445B-9E6F-19D0F666DE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3D618B-0D8B-4A1F-9034-622F6A72F7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B9E038D-CD99-4C02-95B9-F8D40FF955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CB2DE9-AFFC-40A9-9E10-892963994290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77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4D51BDF-2441-4CA9-BAC1-3B2ED309E2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3A1713A-64DA-4B58-AF5D-E440898DF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AA40F8-C9D8-4784-983C-413D4882DA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80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3AEB324-E8E3-4EA5-866A-6FE1DCB205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50796C-1723-432E-A4C0-F5BE142938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A6CA09-39E0-4EB8-AD43-679320CB84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E69EB68-3006-42C3-87D0-4220528CF4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AFBB50-C32E-4D4F-AB06-F46A3EAFD4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FAFD056-EE3C-4618-97F7-7E2E7702CA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970CAF-567C-4ECF-BE5A-1A64C06278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A24803-F797-40C1-A774-F6C7A97FB8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C5B3ED-A2D0-400C-871B-95A036D86C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8563039-442B-49CF-A167-667A70F985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1DF0BF-0E28-4DB1-A22D-94E8DC1902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38544E-53BE-4EAF-8FE0-D6205A2CC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9563B2-36C4-4A2E-969B-F5D53B6903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559C2E-0B8F-44BD-B225-44DAEBD3C1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8C73CF3-A2C8-46D3-87EA-29C84BFD82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B81DBA4-0585-401C-921A-931F2E9FD3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9D2509-1FB5-4834-998A-79D47DF558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DBD132E-AE43-4CFB-8E7C-0F60D79579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432638-7CA6-4052-A12F-C35F52C8E3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14A8584-6A5A-4D61-AD82-D91F4C786A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CCD2F9-F519-44E2-8864-F92EAD55C4A5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54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09FB30-B0C2-4D81-A22B-F3D0C23D94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6B34B20-7E1C-426A-A8C6-455FAB39E6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707EDE-900C-4A7D-9B20-F29838B525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21E02F-AC76-4C6F-B1B3-3D945CE11B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61DC8C-F51D-4199-9374-BDCC49878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3C3C88-2C31-42B1-921B-3B649A7772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843B41-8C42-4F10-BB0B-073F8111DC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EBF52AC-D5CC-4DC4-9221-83E9A6D4CF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A9D10E-B734-4C69-B042-31D89312F5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38B9106-AA32-425B-BDAA-85939D2EA4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CF752F-DAB1-4146-8F5F-A418182CEB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927207-8B17-4997-970E-9E446D159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6F7316-1272-41E7-B10A-A2976BBC10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2B6E3E-BEA5-40FA-A575-92E3050CFD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E3BDDA-D6E5-4D15-BDF8-B722F2FC126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BCDD9D-4284-49AA-87BD-148BAC4216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D56AF0-22F6-45B7-BE07-F9D5FF9919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37A3E4-830A-44E8-AD05-A942D6A916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D5A08B3-6A13-44C5-91DA-4A544B7B67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AB4735-FF60-4B25-A3C7-8D7632BA84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9D7A63-0411-48B3-B4EE-7D33B8C82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1DF149F-634D-4DB7-9DC1-ABECE33E2E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64AC457-360D-4B71-B018-5DC84116A6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46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C24036F-DB1D-4300-97CD-302E64927A9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7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7C7262-1F9F-4AB1-A58E-3D48208DB50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8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691138-64B7-49F3-B69C-2691A82EB3D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49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62A351-8FE5-4914-BDF9-132192996A4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50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C756CF-E9D7-4003-8C8F-1AF2C845376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1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4C2D43F-BEB5-4708-9E7C-81F6E283A00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2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28CEB9-5024-41CF-8D25-5118A1173D2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53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E20D58-65B2-4CA1-8289-2F5162A2814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41" name="Rectangle 14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E5C5516-8F46-4455-92E3-82CE9BF459F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034850-6F78-452C-BE50-42435826965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9144000" cy="5143500"/>
          </a:xfrm>
          <a:prstGeom prst="rect">
            <a:avLst/>
          </a:pr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 noProof="0"/>
              <a:t>Klik op het pictogram als u een afbeelding wilt toevoegen</a:t>
            </a:r>
            <a:endParaRPr lang="nl-NL" noProof="0" dirty="0"/>
          </a:p>
        </p:txBody>
      </p:sp>
      <p:sp>
        <p:nvSpPr>
          <p:cNvPr id="277" name="Content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1AD85C-48F5-47D8-91DF-302588F6D426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15049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Hoofdstuk di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roup 14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EE9FAC-DC57-4004-A5A4-D92C34C31ADE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C5CE7B-AFE2-405B-A5AB-33D0BE4F9475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385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55A5BA-5378-40C6-A00C-8BB924D851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6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AB2912-A29F-4844-A757-DCC68AF1F4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7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EA586D-B169-46C2-A60A-2EE66DD499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8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164BB0-DC68-41C6-839A-B5C6B5869C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9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BC3A16-B749-4BA7-8929-03642D6AEDF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0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6B82520-F5C3-4CB3-A5AB-61B4CF5D93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1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665035-09B0-4C21-80B9-C1398FD730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2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A66BB7-4A7E-4FAD-86D0-B9B64F4C96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3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AD8144-4EF4-4B29-B8BB-E464354D9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4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54A3E9-4632-4EC6-8466-6110D99E32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5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7076AC4-4DA8-4BB1-803C-2864F43CA8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6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72BDCB-F0AD-4D0E-81DD-73840A36AD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7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9668C42-4088-48BE-BC9A-7DBE856B39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8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35F85B-61B6-418B-892E-3BAF11FCA7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99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CC931B-A485-4635-B73F-164EE8B73E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0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4DA616-7AA6-49E3-A52A-8AE492864F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1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B23C79-6DC7-41E7-8EF2-0844B77757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2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908877B-0FF4-46CE-8EF2-C2E02CDA29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3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D9697ED-A86E-4E1B-809F-C08237D216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4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A01023-C640-475B-BFE1-087B3F6350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5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EB9220-FC0C-4AF0-8D22-261FAF99B3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6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F31508-72A5-4ECB-A7EF-5A51CA87B9F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7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BA04CC-B207-4BFF-94B7-094BD042F5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8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CD0BA2-AB07-40C3-BC90-D1CDF1DE6F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09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DC7902E-E769-4659-9C98-2C7A04E4E9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0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38A190-CF19-4983-9051-EF83B1DF91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1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B58290-67BF-4A7B-A2B7-DD3C81E2A2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2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C87027-65B1-4CDE-828B-0BC8E341AB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3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B487EAA-33D3-47A2-9DC2-927DAB5664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4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3D72F1D-AFB3-45C6-A8AC-A3C77F6F37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5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A0D96B-E87A-4474-9677-DF3C130D27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6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ACDC8F4-2ADC-445C-BC87-50468BDA3E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7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8B0507-5CEC-4DC1-AD15-5DDE5B7FF2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8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7F206E-94D7-4811-B8C3-99427CB9E3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19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94DD76-79B9-495E-ADA3-C8DD2917D1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0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CE5465-900E-4A81-8F40-54323709F6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1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902A073-A9E7-4592-BAB2-4676F2378A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2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F7CD03-0766-4DAA-BD97-666DF4F261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3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EBB781-6507-470C-8EA0-AEA581B023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4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DF576D-18C8-4534-8156-AC0DA69191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5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A6C03C-6AF9-4B6C-99DB-0F3234D4B5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426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6893F4-D99F-49F4-8A38-7A40AEA9E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288A4F-2230-4580-A0CB-EACA35304D2D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343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B8D4A5-1660-4CB1-BEC0-F2FA8D604D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4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B2818A-0A17-4AE0-9B87-2F1FBCAA6D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5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F489F9E-34D8-419F-A801-F74A5B3602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6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51299F-B1BA-4EB6-9262-0DCF663EE3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7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4758A1-F530-4AC7-8B6E-F7EA8FAA99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8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8E544E-0FFF-4507-AF68-E0BFE3B9B0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9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9B89C8-D012-499E-8663-2407E892EA7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0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32B59B-59BF-4E4C-8232-47C8F8AA8F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1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ACE530C-B813-45AA-976B-AFACECFC90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2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D53328-E4C1-4EC4-8DF8-554D5DC744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3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94060D-07FB-48D4-934D-B569D0654E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4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20BE08-AC27-4443-BAA3-53D3AB398E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5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345958-89B7-4D39-BBFC-667C2A9D09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6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BB4926-FB14-4957-9A07-A2CAFE88FC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7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413F3A-1388-419F-BF0C-B73D39A73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8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D906F4-2D03-40FC-A869-08E8FD658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59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40C389-83F9-495D-9E94-A5BC5DF5B1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0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5F4B78-FE45-414B-861E-9F4DB0485B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1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F944B3-9FB5-47FE-88D2-F80CD03CF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2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F2ECAA-969B-4CED-BE69-C4CF6D2AB8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3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CC7F9D-10F7-40BE-9395-D8AC35FC22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4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D3A586-DA01-4653-85F6-D63857436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5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72E185-9A17-4E7B-9F16-AEE641092C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6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257637-1A64-4AEB-A5B6-BBE0B1C5E9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7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A280E7-AD06-49FA-AABD-3442899EF5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8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48D4AD-5349-45FA-9178-630D13CC64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69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EE2A24-CC45-4241-A4A9-B3E6A1D57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0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6F56DB-10CB-4B0B-9D3B-B3408105C6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1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0A8DB3-6D4E-419A-AD9D-8443EC8A3E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2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3BB4A3-5A3C-4DA6-BD9F-FA40C3AEBE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3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FBADC3-70D7-4ED1-AC17-A6923FD7E6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4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0E4356-D2C7-429D-888F-CC1E2953F5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5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4F84A62-F7E6-444D-BA9B-32551EEA54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6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4A50CA-F25F-4D73-99E7-213187CFAF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7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D8A3D5-C005-4043-ABDE-01DFDACD9D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8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AF29EF-1D57-4973-9762-C1942BAA1C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79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607991C-04B6-4482-B86B-3B4650ADA3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0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6B8B0C-6A48-4B74-8BAB-1A87BADC1C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1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6381909-4D44-4D0F-B119-FFEE34DFCE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2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F8D478-F691-49B3-846D-05D204E4E4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3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C4FECD-5D1F-48A5-A8E3-7ECA086AC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84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EEBDAF-FA46-4E74-91F9-D197C18934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31666AD-57E0-4A83-BFEE-70E5A6E7B512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320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50F7E6D-F358-4B22-BA7C-7B2941E73F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1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DFEADD-13F6-40F3-BBD3-808EB06B949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2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85CEDF1-7638-43E3-B661-DDC2E28287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323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DE6667-7541-4E9F-B246-A5F7EEBF8B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4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6B8151-C3B0-4227-B0F7-28755C15CB2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5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4DB4436-E0EE-4B5E-9FCF-125EB3B8A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6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4596E9-7A40-4CFB-8C63-E532009D74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7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510951-6684-426A-94C0-512FA6A267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8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D3BAB0-8D39-483A-8742-6FABDA074B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29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98AB7F6-25B8-4AC8-8866-6AB1CFC232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0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460B96-9AF3-4836-AB45-ECCD3BCD62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1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67AA1A-3B23-43E8-80EE-145022D07E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2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AEA3CE-9A7A-47C2-8596-1936B74511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3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953554-29A7-4CC0-8669-90E36A0DB5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4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EFBE25-F9F7-42A5-8301-C0C230571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5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006AD6-A6F8-4A60-A30D-1D0E2812E1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6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28C3CF4-7FA5-4799-BA7C-8CDEEBE070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7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D58A0A-C7D3-4848-970D-E45F139984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8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9A3A9C-A516-4D46-BFB1-CE2B0A63AA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39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B57B86-3BF2-4A4F-9FDC-96318CDF4C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0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7162B27-5EAC-4B27-AE4D-7CC792C333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1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D3B7ED-70E0-4A3A-8715-4471354130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42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D8135EE-2815-4DE2-8444-34B0048BDE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B6ED9A-64E4-4E4B-8DE7-62761BE41688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297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3823C7-CCC7-47C7-BE24-0EE045AD40C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B24C31-B6EE-4D3F-A41D-F9059CC84E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9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73D665-80C9-417C-9AEE-56D996096F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0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71ADC1-99EF-4772-AACC-69BC57B98E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1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FC3CAA1-5177-4480-A514-5D3DF213E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2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991A37-979B-4C00-BC2D-8922391144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3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FED9329-0957-4A65-93F7-00192CADD0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4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3EB916-A75D-45B5-88AC-9ACEFEC6C0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5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6CD6C63-0E39-4B7A-A975-F07C797B6AB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6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D86990-FFD9-40F4-A0C3-EEA899D66E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7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C016A95-8A8A-4CF9-822E-ED195E4E49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8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09FA88-1ACC-482C-9FA5-083433D49F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09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D4655D-1370-43A4-AC31-8E819D231C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0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668EDE-0FA6-42F3-AB1F-28370D022F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1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04C266-F990-4DC3-AE95-A8F2F08F06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2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233FF4-C19A-46F3-80B5-7BEC6D7D9E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3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589233-D2F5-489D-9B7D-6D57983DBF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4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FB4AC4-C373-49EB-963C-666A5AD77F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5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20FB41F-0769-4420-BAE2-650B8C5F38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6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0A9308-E1AD-4E38-82D1-87AA85ECCD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7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EE9F26-9741-40BB-84D6-848707373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8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0C00900-FDAC-4C3A-B59C-86FA6B72AF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319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89AB5C3-DAAC-464F-897C-DD07A0A684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3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A25BB9-D0CE-49E6-9710-AC39B359C0C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0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8EDC98-523B-4637-847D-C565FC68AB2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1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EC4945-EE9A-4B88-AE8F-BB58D9BF7EE5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2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C7EA8E-464B-4517-B3AC-2D4181552D8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293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D8A08F-EB4B-4AAC-8881-B53F5A0CFEC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4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AC6D54-0B62-4ED4-88EB-60C09E336BA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5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94B8529-F4F0-4085-AF14-54AADA9081C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6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89BBD5-A013-416B-ADC8-76DFF9CF9F6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289" name="Rectangle 28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3587A7-70EA-48C7-AB12-EA193C3012F7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CA88FC-3312-454B-877D-CC3AEDB22C97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9EAC0C-6D4C-4B1D-A9F0-EE7FC2E3959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A83B247-7538-453E-AF05-C825441F38E0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724699-E9C0-4F2B-B33B-98365900E82C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1971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6C18A7-3B08-4B65-AA20-C5B584C63A6A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971D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4B9545-1CBE-438A-94B5-9C754ACBF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2E32DE-28F8-4800-8C58-722324C5C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156" name="Picture 15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DE9F7E-C190-4E7A-B78D-23ACE2992F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25469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Hoofdstuk di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C84BE5-9462-4F11-9C22-F4F3260C9426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7E9C3F-1995-49FD-B081-478127DA681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906F4F3-4ECD-42A6-9C63-DB9646CB71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88E532B-96B0-4492-B14D-6813F2D15C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823AE8-821C-4CB7-BF2E-DDCA3914F5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787687D-BE26-47B2-8F93-DB2D0776BC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9D3499-B160-4CC3-81BF-0BFB5F8F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E14665B-C0D6-4CFA-AC97-F3E3BDD007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7798BF-75EB-4E84-92CD-A0C63D0BDD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93821A-CC46-4532-9DEA-BA5A432D14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26E620-057B-4B2B-B072-D4426C7384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FE5BDE-FAD0-4E45-8136-8A36DDBCD6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FE28E8-6BEE-4C75-90F9-FB817A128E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2A59934-40BC-4B69-B546-9A8DBADC5F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3BE74B3-CEBB-4D49-8AE8-FC2763866D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C495712-BCA8-40EA-9965-391EC18264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7B44DD-AD47-47EF-AAAA-34AD82227A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EA107E7-D673-4ECD-9987-275C8EC7F2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A0692F9-F54B-4AFA-BEA8-BF138343CB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1D63DB-3772-44FC-A4D8-1E4BFB5A3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9E195E-2181-492B-9887-6A2F16EAD3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F39718A-DD5A-4749-AD8D-E989D5571A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938978-D8DD-44C5-A56C-24271F5F58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40CF47-AD71-4E01-A511-91D85BB85C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881B5D-B955-42A9-B8D1-9061824C42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B63EC48-11FD-4A7C-B25D-44BAE8583D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912291E-F9B7-4843-9B1F-E17520266C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1998BD-5186-4974-BC0A-61BF2DFC9D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FF72344-9C74-4293-BFC4-F72F4C0D46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241A712-14D1-4B2A-B51B-EB01E8500B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8BBF71-D8A3-4534-AE65-46079B1B85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2F17CAB-0973-4B16-B1A4-ED5F0CA239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A079A1-3136-4285-83B1-19D0C60393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EBCC7E-5DF6-4CA4-864B-753EA0D7BB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FD0014D-1BE9-4021-8313-3464BED41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7D7D7F-DE6F-4E89-A194-B664CE48DB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19BA7B-84BC-4C96-B1C9-D50F8324C4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CF17CE-A101-4CA8-BBB3-695A75F7A5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23FCDF4-5879-411F-8B01-70B7304F4E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568F4A3-9090-4218-9F56-D7765C8545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872E25-9E0E-481A-8A01-C4DD4DF931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DCD92D-3F77-4AC8-99CB-725991D56F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28D0981-582E-4F4A-B830-CF68F0298B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E92AC9-E8C4-41DA-9B3E-AEFB8B1C9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43A653-CFD7-4A2D-973D-62CF995EC309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171AF27-56EF-4E3E-90B1-2293601640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9B1BA9-5049-4347-9AF3-82ADF402CC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22CF13-D3B8-4AF0-8FFD-2ACF1973BA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F0D9CD-0F9B-4C53-ADAA-B5643D20BA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C465E0-7F8F-43B8-884C-5D4AB90682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9B515D-6778-41F7-95A4-332880D870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9B3E920-9015-43E4-9ACF-DA971BFE32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B12664-9D65-45B3-B402-78C16D7568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7AFB3BA-B6EF-405C-8535-88EAC30EC0E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959858-1441-4ED1-B2C2-EE8DFED462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D949E0-C850-4395-82E5-3F0034254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2045FE-E112-4A91-AEE4-4562E447C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585588-756B-44FD-A9E8-B32FD5C3A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7BE5A1-1A7A-4981-8A11-3AB49E3015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9DA2694-17B0-4433-935C-39D6FCC736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EB3B09-9047-4198-A701-95165EE0EC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3E4941-723C-407E-9FC6-6598270520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4D9645D-75A7-43AE-AC63-0E3B1CD7B1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5F68A3-E88D-4D6A-B0E1-83E741E6DC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78E8F09-0FBE-4C49-8DE5-E6DFE054EA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B1CFE0-5C99-4045-A526-F7DFFF9AC2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E72F33-E0F0-448A-9AA7-AE4685A08AE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64558A-EAC6-49B5-A83B-83D64B2790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D3ED3FF-40E5-419F-A8BB-B4BA526DC8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526F7A-E513-428B-A2B7-C019CE2C6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645AA64-1EB0-41F7-BFB7-89C1253042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AEDEE7-6B63-44E8-9EF9-511E13AD4B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B5C433-6278-43F6-8786-095CDC75F4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0475AC-D5D4-4B26-8090-F1377F104C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AD0BB9-6B9E-4613-A49C-8187626737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FE7BCE7-E794-4FB4-BF54-8F3925A958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25C597-7213-4B56-BC86-37F2A56567F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FEE6371-48C6-49BC-879B-1040F8EA837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E448FE-4D7A-422C-B6AE-DCF93709B1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137146-D6EF-4AD8-9932-48505AC22A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29947D-2FBB-4C84-88BC-73F4630DB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CBF55A-B6F5-4833-AE61-1E77392CD9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DDBB45-0C1E-40E7-9A23-0F2B339412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89A42A-1DC7-4BD9-82D2-4CF3D737F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B2C353-0F7C-4202-A0A6-9FEA757863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B340D9-FA13-496D-9124-E7E328FF1A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071827-AD76-4F71-AA26-A3965E1BAF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B06B80-8744-4A13-9C14-BFF0A4404FA5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7FF350-B1B4-4604-8937-EBBB36E7AF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32A291A-3895-4F98-9AB3-8A99671674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77613A-4B7B-441E-BFCF-305EE29EE6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B3D3E5-2446-468C-AC2B-37CB90E948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33099F-3452-4FE8-910D-911C082D2D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5CA4FB6-7941-42BF-A45A-6E6DD24DE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D09379-9A42-4C79-8BB4-C6902965F2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9D801D6-B727-4A54-93FB-D6B5E77203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519275-D31C-4EAA-9896-E1EF355A5F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FF62062-D200-4AD4-8D3F-5B8D0B860B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13D9EB9-90B1-47D3-BE77-D6677DB701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278C21-4105-418C-B365-3D41403C12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BC509C6-0A3A-491B-8EE9-24D4F6100F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141095-A2AC-4619-8029-1089DCA539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6AE34B-A460-4D2B-8550-E8E4C1D8A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5052F0-4B42-4E7D-BB15-A4E27131BB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6766754-8347-4261-AAD3-56825AF29B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2F7E17E-1FAE-4168-A1E8-20FC1646C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479A141-EA99-4990-B229-177203DC8A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CEBDD0-C765-4EDD-A37F-DC5A24A373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07380F-D80B-41CE-9E97-4BA4741189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FFC962-E5B5-476B-A900-783148A680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CC3FD3-167C-462E-B231-2B7B48AD3EC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37B9BB-2A13-46B6-86C0-F699F2162F1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A7B18F-5400-46C8-A65D-2F239BB99D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D4B7EC-6FCC-4FCA-8CC0-07C0B5911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9D07382-C3A6-4AA7-B48B-5AC697C402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6D51E57-8E07-4536-86E3-F13DFCA328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950384-FE49-4753-8515-03366C006B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0E27BF-56DA-4583-99ED-4DA9348D7F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BA9B4B-AF91-453D-B2C0-E4FF930646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EF1C153-E8B0-4631-962A-3210A2E26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CFD8F1-FB43-48B2-A351-4780A06063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E2E20A9-5978-4C68-839B-9B7895FBD8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D47B30-C100-4582-BAEA-8BAA478A82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2E08FFD-1FBC-4ADD-B59E-A34F027493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30C5D9-D0D5-4170-9C46-83E523DEBB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E940D2-83F1-455B-B2F8-DC3A178284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0592F1-C2C8-49CA-B704-12583D1B0D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DCE925-B417-4B15-AD9F-22F4536E5F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B5B0CC-7A04-4DB0-83EC-6A30A741A6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ABAB36-3575-4C0D-BC05-865261C964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BBC5291-1F1B-418D-8E02-6F49CD81948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91846B-DAD6-4EC2-8F63-059CC7C5ED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CA9381-ED1E-41D4-822E-53960C4B0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1EEDC88-ECFF-4E67-9E7F-D256E3B1B6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CE0B09-F164-4103-9D28-290410C8B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54E666-0F80-4664-A163-95233585723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8CC35D-B9D3-4908-ADD4-79DC39FAF02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614B81-F079-4BFC-BAFD-54C8C6C20033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8CBBA3-5310-4088-B7F3-42225D9F7B3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E9CFDD-B414-4C70-906E-B7F09378066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99BFDB5-81EF-45D4-9DEB-9B7D9CFE35D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A7564A-AE34-4F6B-B2DF-2D4D252B1896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DE731E8-9B29-4970-9CDF-1EE7CFE3ECD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A88774-CD1B-456F-9CE7-565FC4B24AA5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4FE7AB-6A79-4B0F-BCDA-27FD68F50964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18FEEE-B01E-445E-9B66-C04548F4DC3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A458CD-51E7-486F-AE65-B793B525136B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687B0AC-F094-4B50-A9C2-108671291DF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1C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B4FBFF3-E0EB-4CB8-BC45-3A50F09023D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C0F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C3ADC1-62E0-49BE-A506-E7CE3955D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7E72B4D-A311-45BA-A074-9F28FDE0A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AF082E-1BAC-47E0-9A86-1D031C805E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66534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Hoofdstuk di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" name="Group 15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5BCC56B-4673-4E1D-9F49-AFA15389B2A0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C2F5E5-9E75-4090-BC29-766F3257E2BB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5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2B55F9C-C4B3-4A90-9E58-4F8E9A8ABE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81F3E3-D446-4478-8B27-06005D0AF2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25E1639-0238-4FAA-BB50-5FB0EF5567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8D83FA-E164-452F-A4D5-B347D6E093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BA70917-64FC-44DC-8208-2AC1E17622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E4AE12A-F5B0-42EE-9FE7-6DC96B053C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55C8B3-8822-4A59-96CF-D368B7D6C31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8BED2E-DEE4-4168-8AE9-83B96CB1A8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C99814-935F-458E-B450-BB8C5A641D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223D52-5E66-4042-B233-C83CFF1D9D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357A03-2F71-41C5-B8C9-CB6576B716E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5E58EE-AA04-4BD8-A795-136520784A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EDDF86-0CC5-4514-A43C-38EDC2360E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FBDE48-D705-4784-856B-99CAB5AD96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C7D47F8-D2CD-4D8E-A71E-499E5B4B94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0ABF4D-563F-43CC-AFDE-CA769A2123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265216-A807-4659-9AB7-490D02AEA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447E4E-8899-4FFA-AA19-97DFB7852E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D06683-626D-4211-B9AF-FE3B3AE0F2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AE80BDA-0BA1-49F5-B404-C867517BCE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50082B-C90E-40F8-A3CC-0547BABE28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545CA4-D462-4E4D-B67C-4E13D38F94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D64300E-4597-4579-84D3-F31216BB46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062DFBE-54B2-4FBA-B31D-7791A071DD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9C52E6-18AA-4AA8-A671-6F7192C1BC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7647BE-3100-466A-965B-233C47571D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91ED7D-2B1C-4607-99D0-BC9E8B2555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4EA490-A89D-4F32-8B2E-8A51E30849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D649A66-91BA-4FED-9FB1-9E0AEC7799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E9566A-2AC0-448E-9D84-48709A4AE7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23C88C-6FE7-4443-AECB-8068C5D14B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41CCA6-A06E-4F36-BBCD-B016D7D950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5C3E67-32CC-49B7-B794-75A54E3C0F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F8E08D-0A6C-4646-A352-0D9336E2E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EA1F00-FCB0-4631-8F90-BB72DF048B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B4754C-D73D-4F2B-B05B-5F3805CED3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ECA6996-65DA-4E99-A9F0-020C1B3359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B18A38-4839-4636-88F5-B969C269C1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D0E47E-B9B7-4D9C-A6FA-1CB5EFEF07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ED2022-68D6-4198-81D9-182FE04821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1036E5E-38EC-405F-8816-601C4487C5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D827A27-083B-41EA-ADDD-A5ADA7F6E6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82C7DF9-997D-4ED1-81B9-3C4A8986B3FF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3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A8E2E5-2CE7-43ED-9950-94B7746755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656E5EE-BE2B-47FD-ADE1-B0ECD53D1C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322386-0EAD-4A03-A6D2-F7051ADC26C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63A12C1-6506-421D-B0D4-A29DCDF414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73C2F6-6B44-431F-AC7E-5B16AB52DF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00C28A-E501-4110-8E59-37FF4C3970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9BC83F9-508D-42E9-BFF6-91E722865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4B6321-1A38-45BC-B41F-3EF2A5395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138FAF8-BB6B-418F-A418-C130E766D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D1F8F5-2396-4E2D-80DB-E9A0582352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EF7D32-F6D6-48E9-8F8C-DA3D8128C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CE6641-60DB-437F-8E20-129788578D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358CBA-5D91-4627-8384-5F798495DC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2E2AB9-3834-41A2-82B0-7BD64012FC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D0C86A6-EA51-4434-985B-C2F3B737F8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B246F0-AE3A-459A-814A-6FA9ED79D5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63FA51-A5D2-4710-8AA5-1E840657394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2DC1473-07C4-463F-B958-2EA15EA489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5863CE-5969-4935-AF71-78FAD4A29B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3090B8-2F86-4DC6-83BA-3F6E837233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0C6CDCC-232E-48A4-AA7B-CE643F0CA8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4EC7254-08D8-47F4-99E6-7D08FEE451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8F2C6A-931F-427F-BEA8-E9CC643E4B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8DBAB6-9829-44D8-933C-28F9B786CD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D09815-C1DF-4D81-B153-CEFE1C283F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444220-7B36-4379-89A7-60A5C0E4F68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45DB5A-2CE9-4F9F-9B7A-BF14EAD008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C627264-DD07-4A59-A13D-0F32E6649CA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F6C6EE8-74A5-4BD3-86A3-68A89475D3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5C0E8D-5C30-40EB-8A7A-0DBCEEA87D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7EA8321-AF00-4415-A55D-F243315BF5F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937D8D8-9B81-4F01-B3F3-8B86241AF7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1E54C5-35FE-41D3-8117-C833B355F59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539EAD-DE23-4A1B-A6D5-D8953C3324D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F2A3CA-8696-4D6D-A5D8-F9B65C9E00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FEA614-FBD6-49A9-9486-EADBB478A6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4A921D-70B4-4F6A-93DD-D0439F6C53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FA504CE-6476-4FD3-A8F5-3F6480AA94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A59F89-06ED-49E6-900A-60C1C32FC6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BF20FF-B7B8-401E-A33E-1BA32F1718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B9001C-8A45-407C-80E5-F4F37A45DF5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22FC2D-5929-4C55-B957-8BF7B33750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5993FF-9DD0-4B5B-9EF2-72B49A61FE4B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0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66D943-6A4E-4822-AEF7-BAD1B90684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76AAC0B-0739-46B6-A52B-A1C10D77D0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54515C-411D-4CB1-8BB4-C1B425EFE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3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43078E-84A8-467F-B91F-429020C036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E7DDB7-29A5-4738-A1C7-64E71D62C7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F44648-20CF-4D32-BCA2-919A58072D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EF5576-1B49-4F07-B542-CB1A3D1466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16A196-EDBD-41FA-8C43-3D1DBEB8C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6896784-EA61-44DF-883F-08F5AB3F55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0A18EC-9163-4D8B-AD15-7948C205D9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C83335-D1B0-46C6-AF9E-E2C138AFB5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6019064-06B4-4545-A34B-939256E845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C7BA22-B0DE-4A5F-9387-7481092C94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F2204D-1EB5-4C4F-9BA4-7A068A2EBF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C0911F-715D-408A-90EE-9624872CE5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F8B2F7-D838-4EC1-A69E-29A0EF5C3C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47C33AA-7500-491D-82FB-328FB33F90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50D94F0-ED89-40E9-B433-9B6F334C26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626FF9D-C052-4640-B27B-B90C6502BB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23C1A3C-28E1-4842-9F49-0EA816E05B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4F1B3E-6CB9-40A5-8901-30F45C1C9F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FFC7D7-9AC4-4028-A917-790F069366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AD0DC7-4AFF-4DC6-B25A-7EA2303EE1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4B1076-80AE-48E2-800C-8945D35F7AA0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7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86F44F-BBB5-46EA-B8D1-B12BCDC48E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75B0BE-B8B2-4400-8666-D6F15B9DF84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2BFA55-11D9-4237-A310-453D4691AE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EFBEFD1-7677-4645-B9CA-07C5781B90A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6CCD9D-614B-4CBE-BB3D-38B46AE3B6E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2D48DB-0679-4573-BA49-8F6AACA4AF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9B4A51E-7018-433C-888A-EE78DD1BEC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14143A3-EB2F-4D9E-A176-0AB9AC65D3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131172-20F3-4357-A992-2667513E05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8B5C77-AABE-481B-B4DB-5524AA2429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BDB44EB-875A-4E77-A465-02F50D4D0A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F115A1-984D-44ED-9FDD-41A1F2C408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B6E1AE-FCF9-4EEC-8866-EE2B0AAE1E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1E7B61-B938-42F4-BFBF-FC57260841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08B5D0-F775-4667-9475-9E639C435A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AFFFD1-20CE-4E83-8EBD-82035711A7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738FA9-99B8-4734-87AC-C320773618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EB84B7C-746D-409F-BB24-ED58A1AF04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DBE5D3-524A-418A-956F-9272CA74D0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C3C6F97-5D22-4A4B-B72E-F8D819AC63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71AD4B-39A6-4679-8DBE-F777DF9FEE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0E0F6EF-5AE2-4648-A965-033026CAAD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6C1AEB-C262-4FA0-8E90-F3365C4400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59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C4C8DE-1C00-4CFE-BC54-8B567416241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0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120E80F-94D0-4912-B944-7FEDABF15DA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1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75CEA0-9116-4306-A666-C3AD0756D4B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FE0F8E6-06FC-4275-93C3-2BB515A47C6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3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D66097-C2CC-45AD-89BB-004EB4B7AB9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DC051E0-F53B-4563-979C-81E7686173B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5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7DAEDC-7DB0-42E9-B3F5-D7F4FA1EE40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F2CA397-CE74-4A5B-86D3-746E1571F78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3" name="Rectangle 15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100869-9143-4CCD-AE11-D2FB3EA4D6C4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775697-C350-49B1-830C-07782F1E9B26}"/>
              </a:ext>
            </a:extLst>
          </p:cNvPr>
          <p:cNvGrpSpPr/>
          <p:nvPr userDrawn="1"/>
        </p:nvGrpSpPr>
        <p:grpSpPr>
          <a:xfrm>
            <a:off x="0" y="0"/>
            <a:ext cx="9144000" cy="3724236"/>
            <a:chOff x="0" y="0"/>
            <a:chExt cx="9144000" cy="3724236"/>
          </a:xfrm>
        </p:grpSpPr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6FF2E0-7F49-42E6-8C1D-BB46AF4535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8251200" cy="3232800"/>
            </a:xfrm>
            <a:custGeom>
              <a:avLst/>
              <a:gdLst>
                <a:gd name="T0" fmla="*/ 0 w 1090"/>
                <a:gd name="T1" fmla="*/ 0 h 425"/>
                <a:gd name="T2" fmla="*/ 0 w 1090"/>
                <a:gd name="T3" fmla="*/ 425 h 425"/>
                <a:gd name="T4" fmla="*/ 789 w 1090"/>
                <a:gd name="T5" fmla="*/ 425 h 425"/>
                <a:gd name="T6" fmla="*/ 1090 w 1090"/>
                <a:gd name="T7" fmla="*/ 123 h 425"/>
                <a:gd name="T8" fmla="*/ 1090 w 1090"/>
                <a:gd name="T9" fmla="*/ 122 h 425"/>
                <a:gd name="T10" fmla="*/ 1065 w 1090"/>
                <a:gd name="T11" fmla="*/ 0 h 425"/>
                <a:gd name="T12" fmla="*/ 0 w 1090"/>
                <a:gd name="T1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0" h="425">
                  <a:moveTo>
                    <a:pt x="0" y="0"/>
                  </a:moveTo>
                  <a:cubicBezTo>
                    <a:pt x="0" y="425"/>
                    <a:pt x="0" y="425"/>
                    <a:pt x="0" y="425"/>
                  </a:cubicBezTo>
                  <a:cubicBezTo>
                    <a:pt x="789" y="425"/>
                    <a:pt x="789" y="425"/>
                    <a:pt x="789" y="425"/>
                  </a:cubicBezTo>
                  <a:cubicBezTo>
                    <a:pt x="789" y="425"/>
                    <a:pt x="1090" y="425"/>
                    <a:pt x="1090" y="123"/>
                  </a:cubicBezTo>
                  <a:cubicBezTo>
                    <a:pt x="1090" y="122"/>
                    <a:pt x="1090" y="122"/>
                    <a:pt x="1090" y="122"/>
                  </a:cubicBezTo>
                  <a:cubicBezTo>
                    <a:pt x="1090" y="122"/>
                    <a:pt x="1090" y="65"/>
                    <a:pt x="106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7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E95478-27E9-4534-B0BB-F5EE694AC72F}"/>
                </a:ext>
              </a:extLst>
            </p:cNvPr>
            <p:cNvGrpSpPr/>
            <p:nvPr userDrawn="1"/>
          </p:nvGrpSpPr>
          <p:grpSpPr bwMode="gray">
            <a:xfrm>
              <a:off x="0" y="0"/>
              <a:ext cx="9144000" cy="3724236"/>
              <a:chOff x="0" y="0"/>
              <a:chExt cx="9144000" cy="3724236"/>
            </a:xfrm>
            <a:solidFill>
              <a:srgbClr val="0036A1"/>
            </a:solidFill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B698AA-E9A9-429E-B23D-40017E654F63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5963961" y="0"/>
                <a:ext cx="3180039" cy="3231867"/>
              </a:xfrm>
              <a:custGeom>
                <a:avLst/>
                <a:gdLst>
                  <a:gd name="T0" fmla="*/ 276 w 420"/>
                  <a:gd name="T1" fmla="*/ 0 h 425"/>
                  <a:gd name="T2" fmla="*/ 301 w 420"/>
                  <a:gd name="T3" fmla="*/ 122 h 425"/>
                  <a:gd name="T4" fmla="*/ 301 w 420"/>
                  <a:gd name="T5" fmla="*/ 123 h 425"/>
                  <a:gd name="T6" fmla="*/ 0 w 420"/>
                  <a:gd name="T7" fmla="*/ 425 h 425"/>
                  <a:gd name="T8" fmla="*/ 420 w 420"/>
                  <a:gd name="T9" fmla="*/ 425 h 425"/>
                  <a:gd name="T10" fmla="*/ 420 w 420"/>
                  <a:gd name="T11" fmla="*/ 0 h 425"/>
                  <a:gd name="T12" fmla="*/ 276 w 420"/>
                  <a:gd name="T1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0" h="425">
                    <a:moveTo>
                      <a:pt x="276" y="0"/>
                    </a:moveTo>
                    <a:cubicBezTo>
                      <a:pt x="301" y="65"/>
                      <a:pt x="301" y="122"/>
                      <a:pt x="301" y="122"/>
                    </a:cubicBezTo>
                    <a:cubicBezTo>
                      <a:pt x="301" y="123"/>
                      <a:pt x="301" y="123"/>
                      <a:pt x="301" y="123"/>
                    </a:cubicBezTo>
                    <a:cubicBezTo>
                      <a:pt x="301" y="419"/>
                      <a:pt x="11" y="424"/>
                      <a:pt x="0" y="425"/>
                    </a:cubicBezTo>
                    <a:cubicBezTo>
                      <a:pt x="420" y="425"/>
                      <a:pt x="420" y="425"/>
                      <a:pt x="420" y="425"/>
                    </a:cubicBezTo>
                    <a:cubicBezTo>
                      <a:pt x="420" y="0"/>
                      <a:pt x="420" y="0"/>
                      <a:pt x="420" y="0"/>
                    </a:cubicBezTo>
                    <a:lnTo>
                      <a:pt x="276" y="0"/>
                    </a:lnTo>
                    <a:close/>
                  </a:path>
                </a:pathLst>
              </a:custGeom>
              <a:solidFill>
                <a:srgbClr val="006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E349EE-CB6D-497B-A1D2-3EC0FC3FD441}"/>
                  </a:ext>
                </a:extLst>
              </p:cNvPr>
              <p:cNvSpPr>
                <a:spLocks/>
              </p:cNvSpPr>
              <p:nvPr userDrawn="1"/>
            </p:nvSpPr>
            <p:spPr bwMode="gray">
              <a:xfrm>
                <a:off x="0" y="3231867"/>
                <a:ext cx="1088395" cy="492369"/>
              </a:xfrm>
              <a:custGeom>
                <a:avLst/>
                <a:gdLst>
                  <a:gd name="T0" fmla="*/ 0 w 144"/>
                  <a:gd name="T1" fmla="*/ 0 h 65"/>
                  <a:gd name="T2" fmla="*/ 0 w 144"/>
                  <a:gd name="T3" fmla="*/ 65 h 65"/>
                  <a:gd name="T4" fmla="*/ 144 w 144"/>
                  <a:gd name="T5" fmla="*/ 0 h 65"/>
                  <a:gd name="T6" fmla="*/ 0 w 144"/>
                  <a:gd name="T7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4" h="65">
                    <a:moveTo>
                      <a:pt x="0" y="0"/>
                    </a:moveTo>
                    <a:cubicBezTo>
                      <a:pt x="0" y="65"/>
                      <a:pt x="0" y="65"/>
                      <a:pt x="0" y="65"/>
                    </a:cubicBezTo>
                    <a:cubicBezTo>
                      <a:pt x="51" y="2"/>
                      <a:pt x="139" y="0"/>
                      <a:pt x="14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6D4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78" name="Tit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9B2838-9427-487E-99B1-4BCCB47319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375" y="315665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1329F6-19DB-4CC0-B39E-B204E33FD6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3384" y="1100529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F6BB691-9238-4490-874A-5B9799CCF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B764C62-BB80-422D-AB9E-31B19B5E8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7" name="Picture 29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36A012-A2B5-476E-BE66-0C8FFBDC98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13229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Hoofdstuk dia met afbeelding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E800E8-A3E2-49D1-B18D-ECFE2C6CA076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E29BD4-B025-48A5-BF73-515F6C5907E2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30D44B-36C8-451D-A54B-2A8C3362DD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11580E1-EF9E-432D-A9C7-79389588B9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88503B5-088F-42DB-BDFC-80E4F1DCFF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266C04-D895-471E-81D0-C199214327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A8FB1C-06A6-42B7-9F9D-56ED524F60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9DBDA0-59FF-44EC-B375-1F8D01A628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E7CE5DC-F9EA-4A78-9591-D915A6EF95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D19A9A-0E91-4CE2-8D65-C22EC43409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70D242A-15E9-4D68-B9C4-42F7F12AFFE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AE9EF2-1460-4A8E-B4FC-828A3065D0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C75F7D8-0400-4C5B-9762-DE804C98FB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4662E7-3F74-4C77-99B7-1DA2556E90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ADD8C1-E7AD-4605-8A95-67EF298F965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0227E01-0617-4150-9DF7-BBD240E711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F31B75-BA27-488E-BD71-30311013FC3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B7D5FD-6A0F-43D6-87F3-6F418F0751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4E56CB-B3F8-410F-B871-ACD7557BCB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14F3AF-3DCC-40F1-92A4-B74F89548F4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98948F-0F8C-4A29-977C-9174B4F9E47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B56464-A311-4557-9DE3-B8BD09F76DC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1DBA8B-C9E5-4989-AB2E-F91CB9F45E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D922DB6-6746-4DC0-A5A6-5B4085EBE9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2E6AF85-FF53-407B-A138-5FF1750AB2F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8D47B2-D66A-4557-A18C-C443C90B8C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223D3A-8076-4E6E-AA1F-4FD0E824B3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0D2D89-F3D8-4E68-A902-2559E14D6F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1E529A-8CB5-4A3E-87A4-4FD1F58626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4B7A924-B039-4C47-B3EC-424571506E2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31C2ED-DF1C-46BA-885F-6F52E9AA63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2638225-FE24-4319-86BC-B843116B25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E64271E-BEBA-47BA-8ECD-6DBC8136D9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DC3FE0-0F47-4592-9E2D-8246B0A923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18E8E8-FBEC-40C8-9234-B539586052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ABDE085-01B7-4CB4-A832-88D61AD4E9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3BEA38-911C-4207-A0DD-341AFDDC636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FDF9426-2498-4000-BA57-8F4528C8501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FFA1F3-8B70-476C-804E-0731ADD27B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90B6AA-A437-4B49-AE63-544EA6F878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61E73D-1456-4F21-91A0-6941C5DEEA0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F7907B4-0D84-4293-A7A2-4AE06B4AF0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A90C58-2722-400D-BD9E-FC1C8BC180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CD97C55-81A7-455B-B768-EDEED60A2D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59C4D5-4E96-4F9B-BC3C-E9EA532DE1A1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77011A-5608-4A9E-8FDC-DCED28030F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8353AD-8854-4239-8EFE-2C5E8C3C11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4A928BB-87D0-4A34-ADC7-7980330A71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5E471B1-735B-456B-9D17-2684FCBAC1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D002940-4AF1-4E67-BA4D-5F81E4E30C9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26FB9E3-112A-46B8-B134-644E047F30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D87118-D52D-4C37-AB5E-AEC13D5344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6AAE2B6-A4FB-4F81-9016-86C9ECB07CC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A209D1-1F0D-4A80-B915-72733109E0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0BA829-808D-44B8-8675-D9ED6C6D4B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20F20A-5A8E-46CB-9B3A-B410AB271C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6D628A-CAB4-4A80-AC02-333A552257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9277D5-E731-48B3-879E-428CA616EA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4B4307-FE1F-4CA1-832F-BC292C4B4A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3B8D27-F2F5-4934-B268-8ED7A4FEB6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216571C-22D1-4E18-AFB5-C22A2D496A0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82E4BF-BB1E-4C3C-86EF-D38873DF2CA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CEE99D-5459-425B-9391-270AA13642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9FD9584-E391-4F2E-8A2F-B4281C2E98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9AF43F-5F3A-4212-9755-9626BBC9B56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93B1B6-E079-46A1-97C8-0931A402C8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085649-D976-4639-88E0-D1884CD36E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17A9B6-3F44-4867-A000-7675235F67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5897A5-CE10-48F8-A925-DB799D09A1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777275-DD9E-43E4-A5E4-F2E2B6E2202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565201D-1D95-4D46-A15F-1E23771663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CB1ADA-8C71-4D7D-B861-E88FD7266D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B41631-3162-428C-AB17-EE4550A868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9E3E79-4371-43CF-8B0E-1705EB09EE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B35719-8830-47E7-A84E-27B8760814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E9FDB84-4C76-4891-AA64-B42F7476C7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59EEE78-54B7-4780-890D-6790849A8A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77BF07-6AC2-4149-88C0-B15879D884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63CE22C-B5F8-43A9-A8F8-726D7FA880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739D51-CFF5-489E-98DD-A09AD5F907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B80EDE-56A9-438D-9E4C-CD44D9E1B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DCBBCF8-07E0-4BB8-9407-7F6DB6AA7C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6035CC3-C1BC-48C8-B6B6-4E75514005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808CA1C-FFAC-4A85-95B5-92EEBDC3FAC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75A6D1-B0CF-4478-86F1-90AC1C6082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34F65A-DD27-4A86-A81F-E08227EE86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73A529-358C-46ED-8014-D09CE8E0B9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BE6890-83B1-48E4-A405-E6202EA9F10E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DF4C8E1-65C0-41B0-B7B0-39EFFB50A8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0D2B07-F9B3-4AA3-BFE0-03C8CADF70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FFBAB9-F8CA-43B6-A0A9-15615BCC6D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B8CEA3-FAD7-48DD-A7B6-C2897EA5C21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86D114-8CCD-4BB6-A21E-CFDC82ED68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E1C06C-8FC4-45AC-A89F-9378112487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5778FD5-468F-44F4-8520-156992FFA78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5C4F6B-4523-429A-9113-1EDB46DF70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E34474-DCBD-48FB-8D5A-36202F2502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976C72-70E6-4D01-997C-6EADE0E13E1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D6BB9F-D44A-4549-B021-2CD8C2B8C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ED593B8-CDF0-4594-A27F-D58967827F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A6361A-A148-4F81-9939-27C91BA1F7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62C5043-1C89-4950-8D84-8D4033E47F5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5FDD7A-EEB9-461B-BE3C-B60CA21BA7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32120FE-6789-4EA8-BE36-232534F8EF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B3D2C1-6D21-4EA4-AB96-474340D6CA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BE8675-9100-4D43-95CD-45F73019A7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959E1E1-0D81-49C5-A479-000C84B97F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4094F6-4309-4DA4-9576-E1516DCB23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6B5519-80CA-4034-8332-0325031F24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6A1EF8F-5F4D-4C76-B391-0F538E065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245609-BA83-42B1-849D-B4A1A4CBD3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64B453-13BA-4AB9-A654-1CAE4D62A95C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83E1AC-F9D1-40E0-BC94-BD2837CB9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4A71E9-B01F-4804-A12D-C16A5C0A4B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14801D-36AB-4C3F-AC91-9F944E2CE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778D834-44DE-4D50-96DC-E6ED20914D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79E90C-06C9-4B6B-8A01-2FCA52A4E65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C8D826-FCCB-4817-9BF0-F24ED0718C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434E0E-8851-4730-BFB1-42EB25B81B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8957A04-0DC1-4505-8437-B61249D7BB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4ECBEA7-C7BE-48C4-89CC-C7A9487FB9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046387-D980-46E5-98AD-C1C89088A1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6F055F-715E-4095-946F-AF686F6D6C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68C237-C1E3-4C29-A48E-683EAC7042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75A352-318A-4B21-979E-8B97EAA50F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D4E823-80A1-407C-B376-FB2EFDD96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961885-67BA-46D5-88CA-866BB6FF3B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FC37BB4-3F5C-41B9-A5CA-6BE5D8679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9F13528-6D6E-4279-A936-D7E153B269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9C0C5F-9A07-407D-B9DB-5EEF846B8AE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6BEF33-04D6-438B-96FB-3A253C079CD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C95D81B-B31B-427B-A43F-8D640328B0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C05514F-3D7F-4172-B22F-309526812A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98F500-9F42-43D3-8E26-8CEA815B11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0D6F6B2-BEDE-4755-9492-EB0BEBD7E5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7CA487-BDD5-40BA-B711-C712262647C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A0B945-3F20-44DA-B85D-7BED187BCAD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923A52-8351-45F3-9849-BCA7758F783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F26E7B3-B5BB-42AB-B16C-A50F2059FEF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356ADE-2AFB-43AD-A569-AA09358FAE69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F20099E-7BF3-4E3B-AC9B-DC53EF62550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77E3E2D-C541-4073-935A-70B341840E3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BB9A472-B521-465A-AC72-3B4C4F90D1F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976A79-4836-4816-8509-0B5348199692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5570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1483" name="think-cell Slide" r:id="rId5" imgW="6350000" imgH="635000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 noProof="0" dirty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1971D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971D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7B0ED5-F0F9-4B0C-8382-054BE92320A7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14567C-D723-479A-8B6B-A56C0D95CFA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0747818-895A-4B49-B986-B73FF1FBA45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FDF3D32-3A1C-4D54-B41E-FA3ED363A1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87956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Hoofdstuk dia met afbeelding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" name="Group 15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414E3D3-6566-487B-85D3-C9E15C92AE92}"/>
              </a:ext>
            </a:extLst>
          </p:cNvPr>
          <p:cNvGrpSpPr/>
          <p:nvPr userDrawn="1"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57" name="Group 1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B59087-B4D6-49DB-B413-06FD9325A47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257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ED8F52-9588-4329-B165-F4869392F1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138FD0-2ADB-4B87-BFA9-47F5C9B337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EED985A-F0C3-45C9-87BC-845AC66E0F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E2816E1-E4CE-4ECC-B62F-C1E2947AEA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1D3B09E-5E08-4D11-B9B9-245FB71FADD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182DE9-16A9-43C0-9501-2A07407410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45B24D-6E4D-4B9C-858C-97DB5FD07F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AF4A49-A196-4B79-85C1-EB5495C7BC0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370FE3F-91D6-41B1-BF36-6E79E91D41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99033B-784B-4D66-AFC0-1A25BA2E6F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930B26-A99D-4704-BB9C-FDA0155A535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9486778-5E57-4536-B967-B3969B6FC7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525752-2818-40B2-899B-4583DABF7A3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DA0288C-F42B-45AD-942D-FB79999C05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1BCE71-5CC1-4276-9694-6FB29F4F91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B5F7A75-8A2D-4554-876F-360C9F79CAB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A2076A7-4083-4213-A062-7A8741C785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753BBD-FE6B-40AE-B40B-B75A171E6D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CF373F-3A5E-476E-811E-A422EF8E1B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2747283-ACCA-4BB7-ABD7-EB6124ECDA9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D4239D-480F-43F1-A749-B37354D7CF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52B1F4-6CC3-466C-8E0E-D1FC04760A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F5FB36-3378-4556-A6C2-F2CE1A40D6F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0A7C6B-58A3-4AE1-B1F0-B3FFF4D713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84D72B-9F4B-4BEE-B4DE-E22AFE61BF7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186E3B7-B73A-4AD1-8D79-235C3831892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E90287-EE23-48E3-B470-90F3C6D738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5062F5-2CF9-4084-B1DF-50AD84A965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E52CD96-5515-4AD5-AD56-89D675A790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6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9BE09A-8F05-4067-90BF-4E1C1DC2038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7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9354257-238F-41FB-97E1-206B5B8063D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8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EFD6AC-F48B-441F-8D7D-466E1466C0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9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6704FE-BB71-4093-8D97-B2B62BE950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0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8BBE1AE-104D-4511-92D3-B99EDBC160D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1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84403A-8E05-4775-AA9E-56D97DF364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2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C3B86C2-9610-43BE-85C2-E1AB35FAA7B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3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A3685E5-F855-46EA-A493-9B6DA3323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4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CBE970-0F82-4BAC-91D4-3B6AB61B64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5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E5C5625-4ABE-4386-B712-6F0DA6B7C4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6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9E065C-2E85-4ADE-80BD-2B8ED0D35F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7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4EA0A2-25D1-4F5C-BF67-02814B75FBD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98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D659E33-6FE1-4A20-854C-630AEDE94E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528E3A6-71B9-4EDD-8400-FE00C57A9F2A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215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C6444B-401C-4DEE-AB19-5F09417091D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FEEDC3-DF45-4ED7-91A2-B19DA2BCFA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888EBDD-63ED-40D8-BED3-D2C1AC8B49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29EC8A-5A87-4823-B494-8097474204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D49753E-5C2C-46A4-B112-DB0C8EC499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A158540-28C4-4E03-891B-796660E83C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5FE4ABB-E473-43E4-9BE9-A4237CDB1E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4C3B76-AFCD-487F-8DF7-039CA4EE27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4CDD7C2-7896-4C99-AA8D-C4EFCB339D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A6715A-EE7A-4633-B3CA-8DD26ABF7A0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E24101-821F-4130-94BC-4D4E8DA874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6D7EEE-E42B-43D3-BBE1-FD4E1C66B7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D47516-7AC2-45F8-B648-45FC73D006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79B2FAA-8DCD-458B-BA1F-7CE69D1EAB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92C72D-1AB3-4261-B5EE-B2F4FCA020D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E48A22-8F91-46B4-8CC0-ABA3943CB6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326445D-3884-4321-A82B-B44A8A734D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2415126-9540-4249-B661-72E26E889C1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FB9DA18-C69C-4A1A-9396-7EA20747B5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4E9939-EC77-4674-9383-7840D20935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A16474-DB5D-4859-8CE4-6BCD8EB1CA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6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5C4FB2E-FF54-4AD7-8350-6F2B8B5DD6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7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8ED026-C1A6-46F2-9E36-354ED278C6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70B03A-4E11-4112-A0D7-B9C7730641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0C540F-9A30-4DF6-89C3-DC4665CB6F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558F826-BD65-48F4-8557-62DF40AF70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4054E7-28A5-4C3C-8652-2BDD0B0250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2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889FB3-7AEE-4A54-B284-65E0C84C7B7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71B330-C24C-4BC0-A77C-697A98A218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8912764-53DC-4B70-B9C9-03EE1266DC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3D9FC4-1EAC-4D68-8ACD-539D28A8DB6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C9E139-8067-4616-86F0-FF5CA801E6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B89EC9-8ED3-4740-B63B-141A65CC0F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8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234FF9-4351-44C2-87A2-3ED9B0E30C2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9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E9D66A2-8755-4230-AFC2-AE72D87444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EE131B9-5C62-4F5F-84C0-1CA6B44A86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71EF4E-BF9C-4B59-A271-7F19C523FC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98CA58-872B-49AF-B771-DCD3B328EC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DA76EA-2242-4B93-9911-6044D84C34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4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41BE49-C781-47A0-98EE-D1910D24E5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5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F1222C-A0C7-4A0B-986C-9344295607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AA6CD1-2BA6-4CE7-BB2E-C1C0FF17A4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CCD65EE-1449-4D3C-B4C9-1CCACB12A015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192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7FC9CCE-3434-4CD2-9B14-27B481E709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BC2EBF-D1ED-4E71-BAF3-FDC80018247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D2F238-6BC3-49F0-9C21-9FBA61B777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195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3CD532-20C5-41C4-830D-031414EF24B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5D28F0-72E0-4E6A-A68B-B450EEC442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28F1D8-8120-4082-8010-DE5AE6671CA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40B4B6A-86D8-42F0-949B-18F5BFC7D0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94CFC6-7EF4-43CD-B296-25396B6BE2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EDB8D33-21E5-4FD0-8473-56F46B31D9F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9C36571-E191-4E84-9098-A956563E1D2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AA67FFF-C12E-4751-97BC-D34E6A82C2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0AD9ED-9D8E-4BEF-B860-427C70147C6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6FDC682-2B1C-4D0A-A1A0-76C81C7619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A9D55E0-382D-4818-AE98-DB0D779D83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67D6CE0-9A69-4450-9338-5FCC41603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BEB5EB-9E6E-4F15-B5F6-E2D27F0640B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19C7801-75DE-4355-9895-B648D5C2F20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B742603-4A18-4D19-9209-F3E35E4DB9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6CB652-2283-4499-859F-031B606C8B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C35351C-52F6-4BDD-8DAE-644E78BF9FA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96A2991-E5EE-4749-B013-54D9B594F8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2F405DF-03D2-46E6-A8D0-254F1AB778F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E8E018-C4EA-4B15-96A2-5B70570664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26EE7FD-C566-426B-91B2-8D8E00E6664D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169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63E59F9-E0F2-4FDA-A109-05246106518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5742FD-32B5-47D9-AB7F-4DEBD75FAFC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DD930CB-9834-478B-A24A-FE69C8B01D7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BFACCA-625F-41D9-9860-0C64433C5EC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93EAE1-E479-428A-8170-E94EFD10BE7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010ADED-9257-4D56-B886-E127A8074A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C5ADA8-19B8-4674-9F09-DF35A2A364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8439467-94DA-40C8-8C8A-5AC976E221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B54B20-E16F-4EE1-8DC7-74FDDDCD6F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3E5273-F3F3-4594-A0F2-FEAE9C86DD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239B7D8-83C1-43F5-BD1A-D8EC0102B08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8E9D29-DED5-4222-A343-D98622BEF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BC093D0-F638-4EBD-9EA5-7771BBF65D2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184A474-1C23-4E7D-A0F7-CA2CB98DF8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205142D-C334-4D2D-B668-177BAABB902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DB00BC6-0F17-4C96-A6C7-A2B73E48440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72DB274-F8DC-4AD7-AA10-4754CAD863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78D8CC-0B2B-48FA-AD79-79712E17C31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CB0485-7B56-44D8-8FB3-64E78BBA803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E89A01A-685E-495B-AEE4-2698DBC27B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7BC2D8-5A68-470B-B05E-92ADE0FF8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A19953-0D7E-4765-B0F2-943A22E3CC9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6FAED30-CA1A-41E5-914A-428886C58BF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161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AFDB27-FE9E-4727-9B61-9966E631636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2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D8E7074-9256-4F96-9AD1-D8B0440E276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3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EF60D82-2BFB-4423-B9C7-2D5ADF0CE7E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4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51E7E1F-6962-463C-9CD5-8D266849802F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165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7DC20B-3764-4E4D-A77C-34B962B68B0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6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FC31F52-CCDC-473A-931C-5F5BAD40D23D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7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FA28A67-74F8-47CF-9F8C-8072DCCFC558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168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5D66BA-CC23-46D4-A129-47B25DB224C4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  <p:sp>
        <p:nvSpPr>
          <p:cNvPr id="155" name="Rectangle 15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367F321-9944-4480-878B-15325789CDD0}"/>
              </a:ext>
            </a:extLst>
          </p:cNvPr>
          <p:cNvSpPr/>
          <p:nvPr userDrawn="1"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0847F7-966E-4D88-BC45-336DFFDBF1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12473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507" name="think-cell Slide" r:id="rId5" imgW="6350000" imgH="635000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1962006-5F7E-4187-A1C3-96472EE5D8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8" name="Tit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B9B2838-9427-487E-99B1-4BCCB473198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333375" y="2884407"/>
            <a:ext cx="7027544" cy="830997"/>
          </a:xfrm>
        </p:spPr>
        <p:txBody>
          <a:bodyPr/>
          <a:lstStyle>
            <a:lvl1pPr>
              <a:defRPr sz="4000">
                <a:solidFill>
                  <a:schemeClr val="accent2"/>
                </a:solidFill>
              </a:defRPr>
            </a:lvl1pPr>
          </a:lstStyle>
          <a:p>
            <a:r>
              <a:rPr lang="nl-NL" noProof="0" dirty="0"/>
              <a:t>Hoofdstuk titel</a:t>
            </a:r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1329F6-19DB-4CC0-B39E-B204E33FD61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33384" y="3669271"/>
            <a:ext cx="7028617" cy="335413"/>
          </a:xfrm>
        </p:spPr>
        <p:txBody>
          <a:bodyPr wrap="square">
            <a:spAutoFit/>
          </a:bodyPr>
          <a:lstStyle>
            <a:lvl1pPr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l-NL" noProof="0"/>
              <a:t>Ondertitel</a:t>
            </a:r>
          </a:p>
        </p:txBody>
      </p:sp>
      <p:sp>
        <p:nvSpPr>
          <p:cNvPr id="27" name="Freeform 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C563FD-2829-4F81-9314-86FA1CCBA8B2}"/>
              </a:ext>
            </a:extLst>
          </p:cNvPr>
          <p:cNvSpPr>
            <a:spLocks/>
          </p:cNvSpPr>
          <p:nvPr userDrawn="1"/>
        </p:nvSpPr>
        <p:spPr bwMode="gray">
          <a:xfrm flipH="1">
            <a:off x="-2862" y="-4695"/>
            <a:ext cx="3182901" cy="2587540"/>
          </a:xfrm>
          <a:custGeom>
            <a:avLst/>
            <a:gdLst>
              <a:gd name="T0" fmla="*/ 276 w 420"/>
              <a:gd name="T1" fmla="*/ 0 h 425"/>
              <a:gd name="T2" fmla="*/ 301 w 420"/>
              <a:gd name="T3" fmla="*/ 122 h 425"/>
              <a:gd name="T4" fmla="*/ 301 w 420"/>
              <a:gd name="T5" fmla="*/ 123 h 425"/>
              <a:gd name="T6" fmla="*/ 0 w 420"/>
              <a:gd name="T7" fmla="*/ 425 h 425"/>
              <a:gd name="T8" fmla="*/ 420 w 420"/>
              <a:gd name="T9" fmla="*/ 425 h 425"/>
              <a:gd name="T10" fmla="*/ 420 w 420"/>
              <a:gd name="T11" fmla="*/ 0 h 425"/>
              <a:gd name="T12" fmla="*/ 276 w 420"/>
              <a:gd name="T13" fmla="*/ 0 h 425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6571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7" fmla="*/ 6571 w 10000"/>
              <a:gd name="connsiteY7" fmla="*/ 0 h 10000"/>
              <a:gd name="connsiteX0" fmla="*/ 10000 w 10000"/>
              <a:gd name="connsiteY0" fmla="*/ 0 h 10000"/>
              <a:gd name="connsiteX1" fmla="*/ 7095 w 10000"/>
              <a:gd name="connsiteY1" fmla="*/ 2023 h 10000"/>
              <a:gd name="connsiteX2" fmla="*/ 7167 w 10000"/>
              <a:gd name="connsiteY2" fmla="*/ 2871 h 10000"/>
              <a:gd name="connsiteX3" fmla="*/ 7167 w 10000"/>
              <a:gd name="connsiteY3" fmla="*/ 2894 h 10000"/>
              <a:gd name="connsiteX4" fmla="*/ 0 w 10000"/>
              <a:gd name="connsiteY4" fmla="*/ 10000 h 10000"/>
              <a:gd name="connsiteX5" fmla="*/ 10000 w 10000"/>
              <a:gd name="connsiteY5" fmla="*/ 10000 h 10000"/>
              <a:gd name="connsiteX6" fmla="*/ 10000 w 10000"/>
              <a:gd name="connsiteY6" fmla="*/ 0 h 10000"/>
              <a:gd name="connsiteX0" fmla="*/ 9970 w 10000"/>
              <a:gd name="connsiteY0" fmla="*/ 60 h 8041"/>
              <a:gd name="connsiteX1" fmla="*/ 7095 w 10000"/>
              <a:gd name="connsiteY1" fmla="*/ 64 h 8041"/>
              <a:gd name="connsiteX2" fmla="*/ 7167 w 10000"/>
              <a:gd name="connsiteY2" fmla="*/ 912 h 8041"/>
              <a:gd name="connsiteX3" fmla="*/ 7167 w 10000"/>
              <a:gd name="connsiteY3" fmla="*/ 935 h 8041"/>
              <a:gd name="connsiteX4" fmla="*/ 0 w 10000"/>
              <a:gd name="connsiteY4" fmla="*/ 8041 h 8041"/>
              <a:gd name="connsiteX5" fmla="*/ 10000 w 10000"/>
              <a:gd name="connsiteY5" fmla="*/ 8041 h 8041"/>
              <a:gd name="connsiteX6" fmla="*/ 9970 w 10000"/>
              <a:gd name="connsiteY6" fmla="*/ 60 h 8041"/>
              <a:gd name="connsiteX0" fmla="*/ 9985 w 10000"/>
              <a:gd name="connsiteY0" fmla="*/ 57 h 10009"/>
              <a:gd name="connsiteX1" fmla="*/ 7095 w 10000"/>
              <a:gd name="connsiteY1" fmla="*/ 89 h 10009"/>
              <a:gd name="connsiteX2" fmla="*/ 7167 w 10000"/>
              <a:gd name="connsiteY2" fmla="*/ 1143 h 10009"/>
              <a:gd name="connsiteX3" fmla="*/ 7167 w 10000"/>
              <a:gd name="connsiteY3" fmla="*/ 1172 h 10009"/>
              <a:gd name="connsiteX4" fmla="*/ 0 w 10000"/>
              <a:gd name="connsiteY4" fmla="*/ 10009 h 10009"/>
              <a:gd name="connsiteX5" fmla="*/ 10000 w 10000"/>
              <a:gd name="connsiteY5" fmla="*/ 10009 h 10009"/>
              <a:gd name="connsiteX6" fmla="*/ 9985 w 10000"/>
              <a:gd name="connsiteY6" fmla="*/ 57 h 10009"/>
              <a:gd name="connsiteX0" fmla="*/ 10007 w 10009"/>
              <a:gd name="connsiteY0" fmla="*/ 57 h 10009"/>
              <a:gd name="connsiteX1" fmla="*/ 7095 w 10009"/>
              <a:gd name="connsiteY1" fmla="*/ 89 h 10009"/>
              <a:gd name="connsiteX2" fmla="*/ 7167 w 10009"/>
              <a:gd name="connsiteY2" fmla="*/ 1143 h 10009"/>
              <a:gd name="connsiteX3" fmla="*/ 7167 w 10009"/>
              <a:gd name="connsiteY3" fmla="*/ 1172 h 10009"/>
              <a:gd name="connsiteX4" fmla="*/ 0 w 10009"/>
              <a:gd name="connsiteY4" fmla="*/ 10009 h 10009"/>
              <a:gd name="connsiteX5" fmla="*/ 10000 w 10009"/>
              <a:gd name="connsiteY5" fmla="*/ 10009 h 10009"/>
              <a:gd name="connsiteX6" fmla="*/ 10007 w 10009"/>
              <a:gd name="connsiteY6" fmla="*/ 57 h 10009"/>
              <a:gd name="connsiteX0" fmla="*/ 9505 w 10000"/>
              <a:gd name="connsiteY0" fmla="*/ 380 h 9938"/>
              <a:gd name="connsiteX1" fmla="*/ 7095 w 10000"/>
              <a:gd name="connsiteY1" fmla="*/ 18 h 9938"/>
              <a:gd name="connsiteX2" fmla="*/ 7167 w 10000"/>
              <a:gd name="connsiteY2" fmla="*/ 1072 h 9938"/>
              <a:gd name="connsiteX3" fmla="*/ 7167 w 10000"/>
              <a:gd name="connsiteY3" fmla="*/ 1101 h 9938"/>
              <a:gd name="connsiteX4" fmla="*/ 0 w 10000"/>
              <a:gd name="connsiteY4" fmla="*/ 9938 h 9938"/>
              <a:gd name="connsiteX5" fmla="*/ 10000 w 10000"/>
              <a:gd name="connsiteY5" fmla="*/ 9938 h 9938"/>
              <a:gd name="connsiteX6" fmla="*/ 9505 w 10000"/>
              <a:gd name="connsiteY6" fmla="*/ 380 h 9938"/>
              <a:gd name="connsiteX0" fmla="*/ 10007 w 10009"/>
              <a:gd name="connsiteY0" fmla="*/ 63 h 10068"/>
              <a:gd name="connsiteX1" fmla="*/ 7095 w 10009"/>
              <a:gd name="connsiteY1" fmla="*/ 86 h 10068"/>
              <a:gd name="connsiteX2" fmla="*/ 7167 w 10009"/>
              <a:gd name="connsiteY2" fmla="*/ 1147 h 10068"/>
              <a:gd name="connsiteX3" fmla="*/ 7167 w 10009"/>
              <a:gd name="connsiteY3" fmla="*/ 1176 h 10068"/>
              <a:gd name="connsiteX4" fmla="*/ 0 w 10009"/>
              <a:gd name="connsiteY4" fmla="*/ 10068 h 10068"/>
              <a:gd name="connsiteX5" fmla="*/ 10000 w 10009"/>
              <a:gd name="connsiteY5" fmla="*/ 10068 h 10068"/>
              <a:gd name="connsiteX6" fmla="*/ 10007 w 10009"/>
              <a:gd name="connsiteY6" fmla="*/ 63 h 10068"/>
              <a:gd name="connsiteX0" fmla="*/ 10007 w 10009"/>
              <a:gd name="connsiteY0" fmla="*/ 187 h 10192"/>
              <a:gd name="connsiteX1" fmla="*/ 7095 w 10009"/>
              <a:gd name="connsiteY1" fmla="*/ 210 h 10192"/>
              <a:gd name="connsiteX2" fmla="*/ 7167 w 10009"/>
              <a:gd name="connsiteY2" fmla="*/ 1271 h 10192"/>
              <a:gd name="connsiteX3" fmla="*/ 7167 w 10009"/>
              <a:gd name="connsiteY3" fmla="*/ 1300 h 10192"/>
              <a:gd name="connsiteX4" fmla="*/ 0 w 10009"/>
              <a:gd name="connsiteY4" fmla="*/ 10192 h 10192"/>
              <a:gd name="connsiteX5" fmla="*/ 10000 w 10009"/>
              <a:gd name="connsiteY5" fmla="*/ 10192 h 10192"/>
              <a:gd name="connsiteX6" fmla="*/ 10007 w 10009"/>
              <a:gd name="connsiteY6" fmla="*/ 187 h 10192"/>
              <a:gd name="connsiteX0" fmla="*/ 10007 w 10009"/>
              <a:gd name="connsiteY0" fmla="*/ 64 h 10069"/>
              <a:gd name="connsiteX1" fmla="*/ 7095 w 10009"/>
              <a:gd name="connsiteY1" fmla="*/ 87 h 10069"/>
              <a:gd name="connsiteX2" fmla="*/ 7167 w 10009"/>
              <a:gd name="connsiteY2" fmla="*/ 1148 h 10069"/>
              <a:gd name="connsiteX3" fmla="*/ 7167 w 10009"/>
              <a:gd name="connsiteY3" fmla="*/ 1177 h 10069"/>
              <a:gd name="connsiteX4" fmla="*/ 0 w 10009"/>
              <a:gd name="connsiteY4" fmla="*/ 10069 h 10069"/>
              <a:gd name="connsiteX5" fmla="*/ 10000 w 10009"/>
              <a:gd name="connsiteY5" fmla="*/ 10069 h 10069"/>
              <a:gd name="connsiteX6" fmla="*/ 10007 w 10009"/>
              <a:gd name="connsiteY6" fmla="*/ 64 h 10069"/>
              <a:gd name="connsiteX0" fmla="*/ 10007 w 10009"/>
              <a:gd name="connsiteY0" fmla="*/ 0 h 10005"/>
              <a:gd name="connsiteX1" fmla="*/ 7095 w 10009"/>
              <a:gd name="connsiteY1" fmla="*/ 23 h 10005"/>
              <a:gd name="connsiteX2" fmla="*/ 7167 w 10009"/>
              <a:gd name="connsiteY2" fmla="*/ 1084 h 10005"/>
              <a:gd name="connsiteX3" fmla="*/ 7167 w 10009"/>
              <a:gd name="connsiteY3" fmla="*/ 1113 h 10005"/>
              <a:gd name="connsiteX4" fmla="*/ 0 w 10009"/>
              <a:gd name="connsiteY4" fmla="*/ 10005 h 10005"/>
              <a:gd name="connsiteX5" fmla="*/ 10000 w 10009"/>
              <a:gd name="connsiteY5" fmla="*/ 10005 h 10005"/>
              <a:gd name="connsiteX6" fmla="*/ 10007 w 10009"/>
              <a:gd name="connsiteY6" fmla="*/ 0 h 10005"/>
              <a:gd name="connsiteX0" fmla="*/ 10007 w 10009"/>
              <a:gd name="connsiteY0" fmla="*/ 14 h 10019"/>
              <a:gd name="connsiteX1" fmla="*/ 7073 w 10009"/>
              <a:gd name="connsiteY1" fmla="*/ 0 h 10019"/>
              <a:gd name="connsiteX2" fmla="*/ 7167 w 10009"/>
              <a:gd name="connsiteY2" fmla="*/ 1098 h 10019"/>
              <a:gd name="connsiteX3" fmla="*/ 7167 w 10009"/>
              <a:gd name="connsiteY3" fmla="*/ 1127 h 10019"/>
              <a:gd name="connsiteX4" fmla="*/ 0 w 10009"/>
              <a:gd name="connsiteY4" fmla="*/ 10019 h 10019"/>
              <a:gd name="connsiteX5" fmla="*/ 10000 w 10009"/>
              <a:gd name="connsiteY5" fmla="*/ 10019 h 10019"/>
              <a:gd name="connsiteX6" fmla="*/ 10007 w 10009"/>
              <a:gd name="connsiteY6" fmla="*/ 14 h 10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9" h="10019">
                <a:moveTo>
                  <a:pt x="10007" y="14"/>
                </a:moveTo>
                <a:cubicBezTo>
                  <a:pt x="10000" y="15"/>
                  <a:pt x="7097" y="13"/>
                  <a:pt x="7073" y="0"/>
                </a:cubicBezTo>
                <a:cubicBezTo>
                  <a:pt x="7049" y="-13"/>
                  <a:pt x="7151" y="910"/>
                  <a:pt x="7167" y="1098"/>
                </a:cubicBezTo>
                <a:cubicBezTo>
                  <a:pt x="7183" y="1286"/>
                  <a:pt x="7167" y="1127"/>
                  <a:pt x="7167" y="1127"/>
                </a:cubicBezTo>
                <a:cubicBezTo>
                  <a:pt x="7167" y="9843"/>
                  <a:pt x="262" y="9989"/>
                  <a:pt x="0" y="10019"/>
                </a:cubicBezTo>
                <a:lnTo>
                  <a:pt x="10000" y="10019"/>
                </a:lnTo>
                <a:cubicBezTo>
                  <a:pt x="9990" y="6690"/>
                  <a:pt x="10017" y="3343"/>
                  <a:pt x="10007" y="14"/>
                </a:cubicBezTo>
                <a:close/>
              </a:path>
            </a:pathLst>
          </a:custGeom>
          <a:solidFill>
            <a:srgbClr val="1C0F5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6378DE"/>
              </a:solidFill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3568C3-DA51-4D34-8472-64D2670C0889}"/>
              </a:ext>
            </a:extLst>
          </p:cNvPr>
          <p:cNvSpPr>
            <a:spLocks/>
          </p:cNvSpPr>
          <p:nvPr userDrawn="1"/>
        </p:nvSpPr>
        <p:spPr bwMode="gray">
          <a:xfrm flipH="1">
            <a:off x="8055605" y="2582844"/>
            <a:ext cx="1088395" cy="492369"/>
          </a:xfrm>
          <a:custGeom>
            <a:avLst/>
            <a:gdLst>
              <a:gd name="T0" fmla="*/ 0 w 144"/>
              <a:gd name="T1" fmla="*/ 0 h 65"/>
              <a:gd name="T2" fmla="*/ 0 w 144"/>
              <a:gd name="T3" fmla="*/ 65 h 65"/>
              <a:gd name="T4" fmla="*/ 144 w 144"/>
              <a:gd name="T5" fmla="*/ 0 h 65"/>
              <a:gd name="T6" fmla="*/ 0 w 144"/>
              <a:gd name="T7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4" h="65">
                <a:moveTo>
                  <a:pt x="0" y="0"/>
                </a:moveTo>
                <a:cubicBezTo>
                  <a:pt x="0" y="65"/>
                  <a:pt x="0" y="65"/>
                  <a:pt x="0" y="65"/>
                </a:cubicBezTo>
                <a:cubicBezTo>
                  <a:pt x="51" y="2"/>
                  <a:pt x="139" y="0"/>
                  <a:pt x="14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1C0F5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6378DE"/>
              </a:solidFill>
            </a:endParaRP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6ACDA5-EB3C-4E42-A1DE-737DA32CC3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01010" y="0"/>
            <a:ext cx="8242990" cy="2582863"/>
          </a:xfrm>
          <a:custGeom>
            <a:avLst/>
            <a:gdLst>
              <a:gd name="connsiteX0" fmla="*/ 27371 w 8242990"/>
              <a:gd name="connsiteY0" fmla="*/ 0 h 2582863"/>
              <a:gd name="connsiteX1" fmla="*/ 8242990 w 8242990"/>
              <a:gd name="connsiteY1" fmla="*/ 0 h 2582863"/>
              <a:gd name="connsiteX2" fmla="*/ 8242990 w 8242990"/>
              <a:gd name="connsiteY2" fmla="*/ 2582863 h 2582863"/>
              <a:gd name="connsiteX3" fmla="*/ 2033452 w 8242990"/>
              <a:gd name="connsiteY3" fmla="*/ 2582863 h 2582863"/>
              <a:gd name="connsiteX4" fmla="*/ 1887794 w 8242990"/>
              <a:gd name="connsiteY4" fmla="*/ 2559910 h 2582863"/>
              <a:gd name="connsiteX5" fmla="*/ 0 w 8242990"/>
              <a:gd name="connsiteY5" fmla="*/ 308890 h 2582863"/>
              <a:gd name="connsiteX6" fmla="*/ 0 w 8242990"/>
              <a:gd name="connsiteY6" fmla="*/ 301286 h 2582863"/>
              <a:gd name="connsiteX7" fmla="*/ 23661 w 8242990"/>
              <a:gd name="connsiteY7" fmla="*/ 22775 h 258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42990" h="2582863">
                <a:moveTo>
                  <a:pt x="27371" y="0"/>
                </a:moveTo>
                <a:lnTo>
                  <a:pt x="8242990" y="0"/>
                </a:lnTo>
                <a:lnTo>
                  <a:pt x="8242990" y="2582863"/>
                </a:lnTo>
                <a:lnTo>
                  <a:pt x="2033452" y="2582863"/>
                </a:lnTo>
                <a:lnTo>
                  <a:pt x="1887794" y="2559910"/>
                </a:lnTo>
                <a:cubicBezTo>
                  <a:pt x="1235105" y="2440497"/>
                  <a:pt x="0" y="1997066"/>
                  <a:pt x="0" y="308890"/>
                </a:cubicBezTo>
                <a:cubicBezTo>
                  <a:pt x="0" y="308890"/>
                  <a:pt x="0" y="308890"/>
                  <a:pt x="0" y="301286"/>
                </a:cubicBezTo>
                <a:cubicBezTo>
                  <a:pt x="0" y="301286"/>
                  <a:pt x="0" y="192923"/>
                  <a:pt x="23661" y="22775"/>
                </a:cubicBezTo>
                <a:close/>
              </a:path>
            </a:pathLst>
          </a:custGeom>
          <a:solidFill>
            <a:srgbClr val="F7F4F4"/>
          </a:solidFill>
        </p:spPr>
        <p:txBody>
          <a:bodyPr wrap="square" lIns="0" anchor="ctr" anchorCtr="0">
            <a:noAutofit/>
          </a:bodyPr>
          <a:lstStyle>
            <a:lvl1pPr algn="ctr">
              <a:defRPr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F2DB12-1BED-4FF9-9E72-9C1743F17C88}"/>
              </a:ext>
            </a:extLst>
          </p:cNvPr>
          <p:cNvSpPr txBox="1">
            <a:spLocks/>
          </p:cNvSpPr>
          <p:nvPr userDrawn="1"/>
        </p:nvSpPr>
        <p:spPr>
          <a:xfrm>
            <a:off x="9500055" y="0"/>
            <a:ext cx="2685600" cy="84414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None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2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3"/>
              </a:buClr>
              <a:buFont typeface="Nuon Matthew Light" panose="02000506040000020004" pitchFamily="50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24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76000" indent="-216000" algn="l" defTabSz="685800" rtl="0" eaLnBrk="1" latinLnBrk="0" hangingPunct="1">
              <a:lnSpc>
                <a:spcPct val="101000"/>
              </a:lnSpc>
              <a:spcBef>
                <a:spcPts val="1500"/>
              </a:spcBef>
              <a:spcAft>
                <a:spcPts val="0"/>
              </a:spcAft>
              <a:buClr>
                <a:schemeClr val="accent6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nl-NL" sz="1100" b="1" dirty="0">
                <a:solidFill>
                  <a:schemeClr val="tx1"/>
                </a:solidFill>
              </a:rPr>
              <a:t>Afbeelding plaatsen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op het icoon in de placeholder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Selecteer een afbeelding</a:t>
            </a:r>
          </a:p>
          <a:p>
            <a:pPr marL="228600" indent="-228600">
              <a:spcBef>
                <a:spcPts val="0"/>
              </a:spcBef>
              <a:buFont typeface="+mj-lt"/>
              <a:buAutoNum type="arabicPeriod"/>
            </a:pPr>
            <a:r>
              <a:rPr lang="nl-NL" sz="1100" dirty="0">
                <a:solidFill>
                  <a:schemeClr val="tx1"/>
                </a:solidFill>
              </a:rPr>
              <a:t>Klik </a:t>
            </a:r>
            <a:r>
              <a:rPr lang="nl-NL" sz="1100" b="0" dirty="0">
                <a:solidFill>
                  <a:schemeClr val="tx1"/>
                </a:solidFill>
              </a:rPr>
              <a:t>op ‘Invoegen’; de </a:t>
            </a:r>
            <a:r>
              <a:rPr lang="nl-NL" sz="1100" dirty="0">
                <a:solidFill>
                  <a:schemeClr val="tx1"/>
                </a:solidFill>
              </a:rPr>
              <a:t>afbeelding wordt geplaat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F14F3E-1D50-44F7-BB9E-4D9A2145BC1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56939D-375D-470D-998D-5F7F3C64B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‹nr.›</a:t>
            </a:fld>
            <a:endParaRPr lang="nl-NL" noProof="0" dirty="0"/>
          </a:p>
        </p:txBody>
      </p:sp>
      <p:pic>
        <p:nvPicPr>
          <p:cNvPr id="299" name="Picture 29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7BCB51-B5B0-45A1-9CCE-B68708C092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91374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theme" Target="../theme/theme1.xml"/><Relationship Id="rId26" Type="http://schemas.openxmlformats.org/officeDocument/2006/relationships/image" Target="../media/image1.png"/><Relationship Id="rId27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1788EF-2EBB-4BEF-BAD0-F93CD87455CF}"/>
              </a:ext>
            </a:extLst>
          </p:cNvPr>
          <p:cNvSpPr/>
          <p:nvPr/>
        </p:nvSpPr>
        <p:spPr>
          <a:xfrm>
            <a:off x="-4848225" y="-1133475"/>
            <a:ext cx="18840450" cy="7410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8D637CB-44E5-4674-AC3E-2546B1D73352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2543" y="4323491"/>
            <a:ext cx="3180913" cy="82000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4465" y="231278"/>
            <a:ext cx="8495070" cy="756000"/>
          </a:xfrm>
          <a:prstGeom prst="rect">
            <a:avLst/>
          </a:prstGeom>
        </p:spPr>
        <p:txBody>
          <a:bodyPr vert="horz" lIns="0" tIns="36000" rIns="0" bIns="0" rtlCol="0" anchor="t" anchorCtr="0">
            <a:noAutofit/>
          </a:bodyPr>
          <a:lstStyle/>
          <a:p>
            <a:r>
              <a:rPr lang="nl-NL" noProof="0"/>
              <a:t>Klik om de stijl te bewerken</a:t>
            </a:r>
            <a:endParaRPr lang="nl-NL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4465" y="1225553"/>
            <a:ext cx="8495070" cy="31153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Edit Master text styles</a:t>
            </a:r>
          </a:p>
          <a:p>
            <a:pPr lvl="1"/>
            <a:r>
              <a:rPr lang="nl-NL" noProof="0" dirty="0"/>
              <a:t>Second level</a:t>
            </a:r>
          </a:p>
          <a:p>
            <a:pPr lvl="2"/>
            <a:r>
              <a:rPr lang="nl-NL" noProof="0" dirty="0"/>
              <a:t>Third level</a:t>
            </a:r>
          </a:p>
          <a:p>
            <a:pPr lvl="3"/>
            <a:r>
              <a:rPr lang="nl-NL" noProof="0" dirty="0"/>
              <a:t>Fourth level</a:t>
            </a:r>
          </a:p>
          <a:p>
            <a:pPr lvl="4"/>
            <a:r>
              <a:rPr lang="nl-NL" noProof="0" dirty="0"/>
              <a:t>Fifth level</a:t>
            </a:r>
          </a:p>
          <a:p>
            <a:pPr lvl="5"/>
            <a:r>
              <a:rPr lang="nl-NL" dirty="0"/>
              <a:t>S</a:t>
            </a:r>
            <a:r>
              <a:rPr lang="nl-NL" noProof="0" dirty="0"/>
              <a:t>ix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4999" y="4679774"/>
            <a:ext cx="3915569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nl-NL"/>
              <a:t>Titel van het document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84255" y="4679774"/>
            <a:ext cx="335280" cy="2738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D3713EB3-02BC-4599-8A41-B768ADEB54D1}" type="slidenum">
              <a:rPr lang="nl-NL" smtClean="0"/>
              <a:pPr/>
              <a:t>‹nr.›</a:t>
            </a:fld>
            <a:endParaRPr lang="nl-NL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AD76D5-782B-4E9E-A960-A247AE9D34FB}"/>
              </a:ext>
            </a:extLst>
          </p:cNvPr>
          <p:cNvGrpSpPr/>
          <p:nvPr/>
        </p:nvGrpSpPr>
        <p:grpSpPr>
          <a:xfrm>
            <a:off x="-2971800" y="0"/>
            <a:ext cx="2695810" cy="2435226"/>
            <a:chOff x="-2971800" y="0"/>
            <a:chExt cx="2695810" cy="2435226"/>
          </a:xfrm>
        </p:grpSpPr>
        <p:sp>
          <p:nvSpPr>
            <p:cNvPr id="141" name="Content Placeholder 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5FAA5C7-4E87-45B7-9A02-713BFA43B92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962274" y="0"/>
              <a:ext cx="2686284" cy="1545131"/>
            </a:xfrm>
            <a:prstGeom prst="rect">
              <a:avLst/>
            </a:prstGeom>
            <a:noFill/>
          </p:spPr>
          <p:txBody>
            <a:bodyPr vert="horz" lIns="0" tIns="0" rIns="0" bIns="0" rtlCol="0">
              <a:spAutoFit/>
            </a:bodyPr>
            <a:lstStyle>
              <a:lvl1pPr marL="0" indent="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1"/>
                </a:buClr>
                <a:buFont typeface="Nuon Matthew Light" panose="02000506040000020004" pitchFamily="50" charset="0"/>
                <a:buNone/>
                <a:defRPr sz="2400" b="0" kern="1200">
                  <a:solidFill>
                    <a:schemeClr val="accent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685800" rtl="0" eaLnBrk="1" latinLnBrk="0" hangingPunct="1">
                <a:lnSpc>
                  <a:spcPct val="101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  <a:buFont typeface="Nuon Matthew Light" panose="02000506040000020004" pitchFamily="50" charset="0"/>
                <a:buNone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1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2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84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3"/>
                </a:buClr>
                <a:buFont typeface="Nuon Matthew Light" panose="02000506040000020004" pitchFamily="50" charset="0"/>
                <a:buChar char="•"/>
                <a:defRPr sz="24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93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4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224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5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476000" indent="-216000" algn="l" defTabSz="685800" rtl="0" eaLnBrk="1" latinLnBrk="0" hangingPunct="1">
                <a:lnSpc>
                  <a:spcPct val="101000"/>
                </a:lnSpc>
                <a:spcBef>
                  <a:spcPts val="1500"/>
                </a:spcBef>
                <a:spcAft>
                  <a:spcPts val="0"/>
                </a:spcAft>
                <a:buClr>
                  <a:schemeClr val="accent6"/>
                </a:buClr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nl-NL" sz="1100" b="1" dirty="0">
                  <a:solidFill>
                    <a:schemeClr val="tx1"/>
                  </a:solidFill>
                </a:rPr>
                <a:t>Bullets voeg je toe met de buttons ‘Lijstniveau’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 dirty="0">
                  <a:solidFill>
                    <a:schemeClr val="tx1"/>
                  </a:solidFill>
                </a:rPr>
                <a:t>Niveau 1: subtitel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 dirty="0">
                  <a:solidFill>
                    <a:schemeClr val="tx1"/>
                  </a:solidFill>
                </a:rPr>
                <a:t>Niveau 2: tekst zonder bullet</a:t>
              </a:r>
            </a:p>
            <a:p>
              <a:pPr marL="171450" indent="-171450"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nl-NL" sz="1100" dirty="0">
                  <a:solidFill>
                    <a:schemeClr val="tx1"/>
                  </a:solidFill>
                </a:rPr>
                <a:t>Niveau 3 t/m 8: tekst met bullets </a:t>
              </a:r>
            </a:p>
            <a:p>
              <a:r>
                <a:rPr lang="nl-NL" sz="1100" dirty="0">
                  <a:solidFill>
                    <a:schemeClr val="tx1"/>
                  </a:solidFill>
                </a:rPr>
                <a:t>Met het pijltje naar links, verlaag je het niveau. Met het pijltje naar rechts, verhoog je het niveau. </a:t>
              </a:r>
            </a:p>
          </p:txBody>
        </p:sp>
        <p:pic>
          <p:nvPicPr>
            <p:cNvPr id="142" name="Afbeelding 2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0795CA-DA31-401E-84FB-EBE1F8F439B2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7"/>
            <a:srcRect l="15744" t="27663" r="17943" b="39396"/>
            <a:stretch/>
          </p:blipFill>
          <p:spPr bwMode="auto">
            <a:xfrm>
              <a:off x="-2971800" y="1684619"/>
              <a:ext cx="2686285" cy="750607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D254E2E-77D6-432C-9928-6B16C3225AE9}"/>
              </a:ext>
            </a:extLst>
          </p:cNvPr>
          <p:cNvGrpSpPr/>
          <p:nvPr/>
        </p:nvGrpSpPr>
        <p:grpSpPr>
          <a:xfrm>
            <a:off x="-234000" y="-238125"/>
            <a:ext cx="9612000" cy="5615874"/>
            <a:chOff x="-234000" y="-238125"/>
            <a:chExt cx="9612000" cy="5615874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56DE85-0D2C-40DE-A6D3-82BBA514836C}"/>
                </a:ext>
              </a:extLst>
            </p:cNvPr>
            <p:cNvGrpSpPr/>
            <p:nvPr userDrawn="1"/>
          </p:nvGrpSpPr>
          <p:grpSpPr>
            <a:xfrm>
              <a:off x="212211" y="5203555"/>
              <a:ext cx="8803480" cy="174194"/>
              <a:chOff x="212211" y="5148833"/>
              <a:chExt cx="8803480" cy="214526"/>
            </a:xfrm>
          </p:grpSpPr>
          <p:sp>
            <p:nvSpPr>
              <p:cNvPr id="153" name="Line 1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FEFDE83-EEE5-4E4A-8A98-FE8F835F47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5" name="Line 14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D4B3CA-B9B8-4DE7-9A55-406FB6E54E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7" name="Line 1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530C86-A622-458F-8F45-D06FA12FE6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9" name="Line 1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B03FF0-4250-42D3-A6C2-FE26B1C78EF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1" name="Line 1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7D47CF-C6BB-47E7-A0A8-F1C70BD417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3" name="Line 1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3EF52EA-2F33-43AE-A9D2-3E0FB6CF20A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5" name="Line 1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9C4C01-51E3-4A4D-9808-E66E9B165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7" name="Line 1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909DE2F-F933-4301-9938-ED4B35C03A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9" name="Line 1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72DAE5-1C91-4A82-BC9E-98B0E4475BE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1" name="Line 1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C412C51-87B8-427E-8162-CFC937F7F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3" name="Line 1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944767C-479F-48F8-8D8C-E1565AEF041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5" name="Line 1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EAB60EA-8945-48DB-A976-242A804B5B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7" name="Line 1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6A55B54-53BC-40BC-8D6D-BDE33763B63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9" name="Line 1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3CD39D-0D2E-481E-9AE6-4436AFA599C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1" name="Line 1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6DACAF-3098-4162-9158-3D24D3B60A2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642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3" name="Line 1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6F346D-24DD-4F24-991E-566D7F8E564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5" name="Line 1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BED5D9A-DB96-484C-A448-AAAD6C411C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7" name="Line 18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95CC46-658D-4B42-AC33-CF1D9A5C695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9" name="Line 18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3278C3-8FEF-4DB3-8D27-EA9DDDDAC0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1" name="Line 18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6139829-0880-48FA-85AB-9BABACED665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3" name="Line 18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D5A0A73-D3CF-436B-8FC9-EBF8C2788A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5" name="Line 18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DB430F4-6030-4A92-B01B-75A70220E86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7" name="Line 19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FCF589-5B53-4512-957D-CB92184A43F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9" name="Line 19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B883E1-B8AF-4EE0-84AA-1A741C163F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1" name="Line 19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6911AD-1181-4885-8D13-0FBA65B572A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3" name="Line 19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EDF4851-DBA8-4E07-9682-6FB98C28B9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5" name="Line 19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7597B1-EBBA-4CB9-8910-52C57755DE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7" name="Line 20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E3A3A2-960E-42D6-A1CC-3A403B7EAE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9" name="Line 20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035D2F-A998-4950-AE82-905F9ABBAB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1" name="Line 20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9683E9A-C2A4-481F-BD11-605ED992194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3" name="Line 20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F81DD22-983F-444D-8803-91ADCA8B785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5" name="Line 20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709F13B-D4C9-458B-AB69-F68D1EBA19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7" name="Line 21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F3383B-4DC0-4333-978C-576D52EB280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9" name="Line 21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E8A642-B7B3-48D6-8101-2C18BFAB88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1" name="Line 21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F0B3E3F-01CC-4215-8FF4-2831C565F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3" name="Line 21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0C5B27-1C6D-4E5C-B887-84246D223E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5" name="Line 21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1562967-2BE3-4A9F-BDA8-A7C50A05298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7" name="Line 22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4FD388-551A-49B7-ABA4-ADAF83C0D3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9" name="Line 22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835133-DF22-4E6B-9DB2-A6B97A56B1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3267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1" name="Line 22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103CFD-5AFA-48E3-AB09-39118A45C13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3" name="Line 22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2CE1821-849D-4D99-81CD-7A60846DC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5" name="Line 22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04076E-54A0-44DC-AE5D-844BD479A99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5148833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2445282-B7E3-4175-BDE7-286D20BC5DE8}"/>
                </a:ext>
              </a:extLst>
            </p:cNvPr>
            <p:cNvGrpSpPr/>
            <p:nvPr userDrawn="1"/>
          </p:nvGrpSpPr>
          <p:grpSpPr>
            <a:xfrm>
              <a:off x="212211" y="-232319"/>
              <a:ext cx="8803480" cy="174194"/>
              <a:chOff x="212211" y="-217475"/>
              <a:chExt cx="8803480" cy="214526"/>
            </a:xfrm>
          </p:grpSpPr>
          <p:sp>
            <p:nvSpPr>
              <p:cNvPr id="152" name="Line 1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2C4CA5-64D4-45DD-A23A-337115F3EF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221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4" name="Line 14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336EA7-E418-4A1E-8DC7-42241379F67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4779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6" name="Line 1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9C4E992-2AB2-44DF-BA47-D382E17EF49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3000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58" name="Line 1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89A993F-6EDF-4269-AA79-189C42CD861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558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0" name="Line 1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0A2F1CD-3F54-46FE-979D-2596C7445F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7031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2" name="Line 1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E39B17-F38F-408D-BBFC-1FD1F3A700E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50589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4" name="Line 1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BF9970E-27B6-4D73-BF91-DED53EADA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8810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6" name="Line 1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5555A0-ADDF-4B57-8982-0892EE5E03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27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68" name="Line 1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191E47-738C-4A3E-A3C2-178906560A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978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0" name="Line 1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30CCA85-8AF9-4C76-8EC9-BB1B040CAF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8664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2" name="Line 1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66602AC-17C4-4670-9B13-51A7D3A6AAC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6736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4" name="Line 1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2C1B97-02C9-4799-9705-8C18C7198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86231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6" name="Line 1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35D19C-B7D4-480A-8CD3-B36206AD1C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4452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78" name="Line 1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B9A429-5CFE-4AB2-8A88-2F3631029E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8010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0" name="Line 1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277F000-3A9A-458B-B3B9-81E593A690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28483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2" name="Line 1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BB2349A-E5AB-476E-B0E7-8BA64DD1D1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2200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4" name="Line 1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6BA42C-7164-4843-BD24-EC1C88139A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0262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6" name="Line 18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524C19-30ED-4FF1-8873-ABB3CBB21D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3979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88" name="Line 18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B6EB560-4259-4778-BCAB-28D4B38EB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1242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0" name="Line 18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D51652-881A-42C3-AAB2-3E1AD8C1FB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0116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2" name="Line 18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7BAD74E-1C00-4BBA-B900-9CC048BB2EC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4126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4" name="Line 18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F5B006-EE9F-4BF4-994E-8009F4EF846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7684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6" name="Line 19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6246B03-960A-4BA9-A91A-42029BFADA5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59052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198" name="Line 19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D5A87E8-878B-464B-9144-F0D8630ACC3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622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0" name="Line 19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813154-AF69-4300-9CD5-44BF13FDEF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50095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2" name="Line 19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5E0EF02-193C-48B6-AEAC-0161572589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3653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4" name="Line 19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C93715-BE24-4CB2-B5F3-387E2514C3B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153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6" name="Line 20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9BF7124-4828-4D76-87E3-9C0E5E36866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432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08" name="Line 20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CF319D5-E431-47ED-8A3F-DD619530FB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72695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0" name="Line 20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2B7707-CA70-4354-AE17-C69D843382D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015691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2" name="Line 20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0F71BA1-7CD5-42DC-8EC5-E8FB2440B6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578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4" name="Line 20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AB4371-BB46-4B69-B310-5D9566B925D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9136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6" name="Line 21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1F3EF4-DD37-4578-A031-A0FC7D09B5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57357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18" name="Line 21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E09F782-1637-4EB7-A47C-CA80B6ED2D6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10748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0" name="Line 21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6E1D4A-F32D-4E7B-B4D3-E176049967A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337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2" name="Line 21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AFC20F-3332-4988-9210-04CF6B1BF4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72115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4" name="Line 21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78AFB6-1EF6-4723-AAD6-76C78E5ABE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15477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6" name="Line 22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04F38C-FC75-40FC-AFA8-B8C87FD1F9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15105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28" name="Line 22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279312B-B482-4F87-8417-11C5467854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3167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0" name="Line 22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2C7834-7CAE-4139-9DE3-3327CDFFBE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68849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2" name="Line 22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10F027-452C-405F-88EF-8D5E30264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157590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4" name="Line 22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BBBA1AB-D34E-48E5-8B6F-BB1FEE8A358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43064" y="-217475"/>
                <a:ext cx="0" cy="214526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0570572-16C8-4BF5-BC92-1FB631CEC52E}"/>
                </a:ext>
              </a:extLst>
            </p:cNvPr>
            <p:cNvGrpSpPr/>
            <p:nvPr userDrawn="1"/>
          </p:nvGrpSpPr>
          <p:grpSpPr>
            <a:xfrm>
              <a:off x="-234000" y="206808"/>
              <a:ext cx="180000" cy="4730678"/>
              <a:chOff x="-222083" y="206808"/>
              <a:chExt cx="214526" cy="4730678"/>
            </a:xfrm>
          </p:grpSpPr>
          <p:sp>
            <p:nvSpPr>
              <p:cNvPr id="236" name="Line 23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B0DA468-D3CF-4014-A282-5A624CC6DE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8" name="Line 23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D7A862F-7A32-4D24-B73E-3CCE10CFD53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0" name="Line 23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31537D-D694-467F-A3AA-4A25178E686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dirty="0"/>
              </a:p>
            </p:txBody>
          </p:sp>
          <p:sp>
            <p:nvSpPr>
              <p:cNvPr id="242" name="Line 23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331EE8-D4E3-4099-8C2E-E1D88AD6C8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4" name="Line 23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3AD9AA-3658-431B-91B1-A05F666863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6" name="Line 24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6011E3-072A-4AFD-BB46-108F5911B74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0" name="Line 24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F017331-E4FB-40D5-ADAD-B9145E4D77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2" name="Line 2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63493F-F14F-47A8-8603-74C9C6C3C73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6" name="Line 25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D9D3E6A-3980-4A4F-A9C0-C23AE7C8564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8" name="Line 25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1194A3-A19C-45DB-9399-A1429BDA716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0" name="Line 25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29ECDB-7740-444C-B12D-FBFDB8FF584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2" name="Line 25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8A3DD7-89BE-4B5C-9A3E-46037762D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4" name="Line 25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BE26A8-618A-4932-AC68-A2402DDFD6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6" name="Line 26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1291FC0-2846-4D8E-9184-C34F0829FD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8" name="Line 26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8F9AA5-E174-4738-B79C-B5A756DA25E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0" name="Line 26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C3D38B-AC7B-446D-A679-DBA3E8E937C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2" name="Line 26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F86214-CAFB-48C8-B8C2-582426701B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4" name="Line 26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C05798D-3D73-436B-891E-C9FEF7C6EF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6" name="Line 270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4D7C82-52EE-4305-A5B1-A22C86B09BD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8" name="Line 272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D0B4E3-7688-467E-97C5-7B0E6353DA8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0" name="Line 274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765B0C7-7B7A-45D1-98D1-3FB42C87AD3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2" name="Line 27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D31C979-B842-4F5C-9E2F-6AA11BA81D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4" name="Line 278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3105E6-7C22-41CE-A605-37B30F4A523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-22208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D5F6B7-261C-46D7-985C-4DD71CFAED1E}"/>
                </a:ext>
              </a:extLst>
            </p:cNvPr>
            <p:cNvGrpSpPr/>
            <p:nvPr userDrawn="1"/>
          </p:nvGrpSpPr>
          <p:grpSpPr>
            <a:xfrm>
              <a:off x="9198000" y="206808"/>
              <a:ext cx="180000" cy="4730678"/>
              <a:chOff x="9149173" y="206808"/>
              <a:chExt cx="214526" cy="4730678"/>
            </a:xfrm>
          </p:grpSpPr>
          <p:sp>
            <p:nvSpPr>
              <p:cNvPr id="237" name="Line 23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9F456B-8FEE-4E52-9C25-98BAED94BC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926187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39" name="Line 23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F2DECB0-6DBE-43CA-80AA-699CC743E3D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643979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1" name="Line 23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0EDE23-9328-4B83-A8EC-A2AC613FA74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0680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3" name="Line 23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8D6ABE-B481-4E4E-8E6D-AD355BA1FA8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50366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5" name="Line 23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EDA4E1B-F33E-479A-8494-847855BD0A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06649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47" name="Line 24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35D43ED-9183-408B-BB41-26E5A3638D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784288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1" name="Line 24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4C3B086-F50B-412A-A9B1-28349BC283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71325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3" name="Line 2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8BECC51-FAF0-401C-9BBE-10EE3FD22E9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43263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7" name="Line 25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93F50D6-B1C3-4A8D-B2FD-107814A092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9073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59" name="Line 25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523989F-3F36-4F0B-BFE8-4D30BDE6992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85356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1" name="Line 25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2B0A0DA-67CD-4E3F-9916-DB80BAC192E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572942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3" name="Line 25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33F5A8-44D6-4F29-AC3D-6DAFABA4F58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93748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5" name="Line 25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B0F9E4F-0F9B-477E-9256-AEB1AA9E1D8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50031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7" name="Line 26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0FBEA66-D0CB-4265-8022-0CD881A7A27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21969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69" name="Line 26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5789D40-A18C-450C-99C6-D846E404D09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079385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1" name="Line 26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510DEEC-B694-4B50-841D-4FB402A93F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642214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3" name="Line 26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BC94643-5DE7-4BD5-A313-126F86DE2DD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360006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5" name="Line 26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F3B650F-82BA-477E-B640-0D608200234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72296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7" name="Line 271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F0A1CB0-BF2C-4730-A907-E9F6220951F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128579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79" name="Line 273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977C3AF-0C0E-41D8-8DD4-312745CE26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00517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1" name="Line 27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7B82095-70DA-4E18-9184-EBCC7615F5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3863271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3" name="Line 27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18659EF-06F6-47E1-8241-E29D39A566B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42610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  <p:sp>
            <p:nvSpPr>
              <p:cNvPr id="285" name="Line 279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D2C3C8-38E4-4BD6-B419-102E62F181F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49173" y="2145480"/>
                <a:ext cx="214526" cy="0"/>
              </a:xfrm>
              <a:prstGeom prst="line">
                <a:avLst/>
              </a:prstGeom>
              <a:noFill/>
              <a:ln w="6350" cap="flat">
                <a:solidFill>
                  <a:schemeClr val="bg2">
                    <a:lumMod val="6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/>
              </a:p>
            </p:txBody>
          </p:sp>
        </p:grpSp>
        <p:sp>
          <p:nvSpPr>
            <p:cNvPr id="286" name="Line 2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EDEF9F1-BF36-4AA5-B7CE-3B6B9D334AC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7" name="Line 1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428D105-E922-48A6-A1E1-B74299696E5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5201620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89" name="Line 14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E03438-6098-4085-BE12-A9A64FAA983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0" y="-23812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0" name="Line 23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F073B84-1256-4847-BE0E-D4E56B2B055A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-234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dirty="0"/>
            </a:p>
          </p:txBody>
        </p:sp>
        <p:sp>
          <p:nvSpPr>
            <p:cNvPr id="291" name="Line 20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BEDE9AE-28C6-4E06-A594-D9520651D0D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-232319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2" name="Line 23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C9CD1F7-EB6E-4519-BF52-9CF5D94B481E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3" name="Line 20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57BF891-0A9F-4D56-BF26-234E96B926E2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44000" y="5203555"/>
              <a:ext cx="0" cy="174194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  <p:sp>
          <p:nvSpPr>
            <p:cNvPr id="294" name="Line 2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C420B4-55BF-4A12-A5E3-55B8DE8B0D7C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>
              <a:off x="9198000" y="5143500"/>
              <a:ext cx="180000" cy="0"/>
            </a:xfrm>
            <a:prstGeom prst="line">
              <a:avLst/>
            </a:prstGeom>
            <a:noFill/>
            <a:ln w="6350" cap="flat">
              <a:solidFill>
                <a:schemeClr val="bg2">
                  <a:lumMod val="6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/>
            </a:p>
          </p:txBody>
        </p: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2518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4" r:id="rId2"/>
    <p:sldLayoutId id="2147483665" r:id="rId3"/>
    <p:sldLayoutId id="2147483681" r:id="rId4"/>
    <p:sldLayoutId id="2147483682" r:id="rId5"/>
    <p:sldLayoutId id="2147483683" r:id="rId6"/>
    <p:sldLayoutId id="2147483684" r:id="rId7"/>
    <p:sldLayoutId id="2147483695" r:id="rId8"/>
    <p:sldLayoutId id="2147483696" r:id="rId9"/>
    <p:sldLayoutId id="2147483697" r:id="rId10"/>
    <p:sldLayoutId id="2147483672" r:id="rId11"/>
    <p:sldLayoutId id="2147483673" r:id="rId12"/>
    <p:sldLayoutId id="2147483662" r:id="rId13"/>
    <p:sldLayoutId id="2147483679" r:id="rId14"/>
    <p:sldLayoutId id="2147483670" r:id="rId15"/>
    <p:sldLayoutId id="2147483678" r:id="rId16"/>
    <p:sldLayoutId id="2147483680" r:id="rId17"/>
    <p:sldLayoutId id="2147483677" r:id="rId18"/>
    <p:sldLayoutId id="2147483675" r:id="rId19"/>
    <p:sldLayoutId id="2147483676" r:id="rId20"/>
    <p:sldLayoutId id="2147483671" r:id="rId21"/>
    <p:sldLayoutId id="2147483687" r:id="rId22"/>
    <p:sldLayoutId id="2147483664" r:id="rId23"/>
    <p:sldLayoutId id="2147483667" r:id="rId24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tabLst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4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000" indent="-288000" algn="l" defTabSz="6858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728000" indent="-288000" algn="l" defTabSz="685800" rtl="0" eaLnBrk="1" latinLnBrk="0" hangingPunct="1">
        <a:lnSpc>
          <a:spcPct val="100000"/>
        </a:lnSpc>
        <a:spcBef>
          <a:spcPts val="0"/>
        </a:spcBef>
        <a:buClr>
          <a:schemeClr val="accent6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emf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8.png"/><Relationship Id="rId3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700443" y="1086673"/>
            <a:ext cx="2837876" cy="18919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44CEFE4-9667-4466-BB10-DCE4328941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948" y="283240"/>
            <a:ext cx="8728487" cy="4728744"/>
          </a:xfrm>
        </p:spPr>
        <p:txBody>
          <a:bodyPr/>
          <a:lstStyle/>
          <a:p>
            <a:r>
              <a:rPr lang="nl-NL" sz="4800" dirty="0"/>
              <a:t/>
            </a:r>
            <a:br>
              <a:rPr lang="nl-NL" sz="4800" dirty="0"/>
            </a:br>
            <a:r>
              <a:rPr lang="nl-NL" sz="4800" dirty="0"/>
              <a:t/>
            </a:r>
            <a:br>
              <a:rPr lang="nl-NL" sz="4800" dirty="0"/>
            </a:br>
            <a:r>
              <a:rPr lang="nl-NL" sz="4800" dirty="0"/>
              <a:t/>
            </a:r>
            <a:br>
              <a:rPr lang="nl-NL" sz="4800" dirty="0"/>
            </a:br>
            <a:r>
              <a:rPr lang="nl-NL" sz="4800" dirty="0"/>
              <a:t>								</a:t>
            </a:r>
            <a:r>
              <a:rPr lang="nl-NL" sz="1400" dirty="0"/>
              <a:t/>
            </a:r>
            <a:br>
              <a:rPr lang="nl-NL" sz="1400" dirty="0"/>
            </a:br>
            <a:r>
              <a:rPr lang="nl-NL" sz="1400" dirty="0"/>
              <a:t>								</a:t>
            </a:r>
            <a:r>
              <a:rPr lang="nl-NL" sz="1400" dirty="0" err="1"/>
              <a:t>Alette</a:t>
            </a:r>
            <a:r>
              <a:rPr lang="nl-NL" sz="1400" dirty="0"/>
              <a:t> Ruiter &amp; Mariëlle Hendriksen</a:t>
            </a:r>
            <a:r>
              <a:rPr lang="nl-NL" sz="4800" dirty="0"/>
              <a:t/>
            </a:r>
            <a:br>
              <a:rPr lang="nl-NL" sz="4800" dirty="0"/>
            </a:br>
            <a:r>
              <a:rPr lang="nl-NL" sz="4800" dirty="0"/>
              <a:t>Startende IHT teams</a:t>
            </a:r>
          </a:p>
        </p:txBody>
      </p:sp>
      <p:sp>
        <p:nvSpPr>
          <p:cNvPr id="7" name="Tijdelijke aanduiding voor voettekst 2"/>
          <p:cNvSpPr txBox="1">
            <a:spLocks/>
          </p:cNvSpPr>
          <p:nvPr/>
        </p:nvSpPr>
        <p:spPr>
          <a:xfrm>
            <a:off x="4814650" y="4738140"/>
            <a:ext cx="3915569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							2019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F68FA1F-18FF-5B46-9945-4A1F84D7C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56176" y="5517232"/>
            <a:ext cx="2088232" cy="72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7392D78-1D01-0C48-8A77-819961B11A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8576" y="5669632"/>
            <a:ext cx="2088232" cy="72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A55200-C293-B743-871A-1F3F81948C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60976" y="5822032"/>
            <a:ext cx="2088232" cy="72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042AE8A-FAAD-CD41-BEFC-2199F42C43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13376" y="5974432"/>
            <a:ext cx="2088232" cy="72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9FC598-1FE2-F547-B787-F8774D4D7A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65776" y="6126832"/>
            <a:ext cx="2088232" cy="72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55C97DD-5770-4F81-AA38-55B4218357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1440" y="1166480"/>
            <a:ext cx="3422469" cy="1720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779553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Een gezamenlijke koers vinden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0</a:t>
            </a:fld>
            <a:endParaRPr lang="nl-NL" noProof="0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3"/>
          </p:nvPr>
        </p:nvSpPr>
        <p:spPr>
          <a:xfrm>
            <a:off x="324464" y="905347"/>
            <a:ext cx="4790599" cy="377442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Invoering vliegende keep IB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Ochtendoverdracht Acute Keten/Klini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Dagstart IBT op kliniek Castricu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Alle aanmeldingen voor opname langs IB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Van contra-indicaties naar ja we gaan eri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Flexibeler inz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Inhoudelijke verdiepingsslag: crisis als gouden moment voor verandering:</a:t>
            </a:r>
          </a:p>
          <a:p>
            <a:pPr marL="573750" lvl="1" indent="-285750"/>
            <a:r>
              <a:rPr lang="nl-NL" dirty="0"/>
              <a:t>ROM</a:t>
            </a:r>
          </a:p>
          <a:p>
            <a:pPr marL="573750" lvl="1" indent="-285750"/>
            <a:r>
              <a:rPr lang="nl-NL" dirty="0"/>
              <a:t>BHP en HA brieven</a:t>
            </a:r>
          </a:p>
          <a:p>
            <a:pPr marL="573750" lvl="1" indent="-285750"/>
            <a:r>
              <a:rPr lang="nl-NL" dirty="0"/>
              <a:t>Crisis heeft betekenis</a:t>
            </a:r>
          </a:p>
          <a:p>
            <a:pPr marL="573750" lvl="1" indent="-285750"/>
            <a:endParaRPr lang="nl-NL" dirty="0"/>
          </a:p>
          <a:p>
            <a:pPr marL="573750" lvl="1" indent="-285750"/>
            <a:endParaRPr lang="nl-NL" dirty="0"/>
          </a:p>
          <a:p>
            <a:pPr marL="573750" lvl="1" indent="-285750"/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pic>
        <p:nvPicPr>
          <p:cNvPr id="7" name="Tijdelijke aanduiding voor inhoud 6"/>
          <p:cNvPicPr>
            <a:picLocks noGrp="1" noChangeAspect="1"/>
          </p:cNvPicPr>
          <p:nvPr>
            <p:ph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5238750" y="1848675"/>
            <a:ext cx="3048000" cy="1868424"/>
          </a:xfr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294453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Inhoud versus Uitvoering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1</a:t>
            </a:fld>
            <a:endParaRPr lang="nl-NL" noProof="0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3"/>
          </p:nvPr>
        </p:nvSpPr>
        <p:spPr>
          <a:xfrm>
            <a:off x="324464" y="1225553"/>
            <a:ext cx="4196329" cy="3114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Op basis van inhoud is er consensus, in de uitvoering soms obstake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oekomstplaatje schet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10min gesprekken met medewerk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Bespreken opleidingen/wen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OR trajecten in voorbereiding</a:t>
            </a:r>
          </a:p>
          <a:p>
            <a:pPr marL="573750" lvl="1" indent="-285750"/>
            <a:r>
              <a:rPr lang="nl-NL" sz="1200" dirty="0"/>
              <a:t>Samenvoegen Acute Keten</a:t>
            </a:r>
          </a:p>
          <a:p>
            <a:pPr marL="573750" lvl="1" indent="-285750"/>
            <a:r>
              <a:rPr lang="nl-NL" sz="1200" dirty="0"/>
              <a:t>Standplaats IBT</a:t>
            </a:r>
          </a:p>
          <a:p>
            <a:pPr marL="573750" lvl="1" indent="-285750"/>
            <a:r>
              <a:rPr lang="nl-NL" sz="1200" dirty="0"/>
              <a:t>Werktijden IBT</a:t>
            </a:r>
          </a:p>
          <a:p>
            <a:pPr marL="573750" lvl="1" indent="-285750"/>
            <a:r>
              <a:rPr lang="nl-NL" sz="1200" dirty="0"/>
              <a:t>Invoering </a:t>
            </a:r>
            <a:r>
              <a:rPr lang="nl-NL" sz="1200" dirty="0" err="1"/>
              <a:t>Triagist</a:t>
            </a:r>
            <a:endParaRPr lang="nl-NL" sz="1200" dirty="0"/>
          </a:p>
          <a:p>
            <a:pPr marL="573750" lvl="1" indent="-285750"/>
            <a:endParaRPr lang="nl-NL" dirty="0"/>
          </a:p>
        </p:txBody>
      </p:sp>
      <p:pic>
        <p:nvPicPr>
          <p:cNvPr id="7" name="Tijdelijke aanduiding voor inhoud 6"/>
          <p:cNvPicPr>
            <a:picLocks noGrp="1" noChangeAspect="1"/>
          </p:cNvPicPr>
          <p:nvPr>
            <p:ph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4815882" y="1225550"/>
            <a:ext cx="3893736" cy="3114675"/>
          </a:xfr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96225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D3E6335-743B-A545-83DF-AF1193290ABC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nl-NL" dirty="0"/>
              <a:t>Regio Zaanstreek/Waterland en Midden Kennemerland. </a:t>
            </a:r>
          </a:p>
          <a:p>
            <a:pPr>
              <a:defRPr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nl-NL" dirty="0"/>
              <a:t>De regio Zaanstreek/Waterland en Midden Kennemerland is een verzorgingsgebied met ruim </a:t>
            </a:r>
            <a:r>
              <a:rPr lang="nl-NL" b="1" dirty="0"/>
              <a:t>570.00 inwoners en dertien gemeenten.</a:t>
            </a:r>
            <a:r>
              <a:rPr lang="nl-NL" dirty="0"/>
              <a:t> Het verzorgingsgebied kent een groot aantal aanbieders van zorg.</a:t>
            </a:r>
          </a:p>
          <a:p>
            <a:endParaRPr lang="nl-NL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75F038-291D-9D41-884C-56290C2BA18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F5E43C-0003-DC45-A7C0-BC1A47702EB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2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11173E0-80FC-D040-8CD0-735BB8944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Verzorgingsgebied </a:t>
            </a:r>
            <a:r>
              <a:rPr lang="nl-NL" dirty="0" err="1"/>
              <a:t>Parnassia</a:t>
            </a:r>
            <a:r>
              <a:rPr lang="nl-NL" dirty="0"/>
              <a:t> NH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060877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8B8BDD-7F66-7E40-AD69-4A58E0FCCE3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Begroot 17 F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Gerealiseerd 15,44 F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14 FTE VP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1 FTE </a:t>
            </a:r>
            <a:r>
              <a:rPr lang="nl-NL" dirty="0" err="1"/>
              <a:t>psa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0,22 systeemtherape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0,22 psychoanalytisch psychotherape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MW/samenwerking GGD?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B4DA1A-107A-8A4B-95F2-3A4CD88FD0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0B1CD7A-0161-DB49-BE5E-B8FD0F1F05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3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F2F6A35-D1D2-4043-B3FF-03C2B34B9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Voorbeeld formatie IHT team </a:t>
            </a:r>
            <a:r>
              <a:rPr lang="nl-NL" dirty="0" err="1"/>
              <a:t>Parnassia</a:t>
            </a:r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804630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FFCA2F-CFF5-C044-B470-E88169A661C0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Van eilanden naar integratie maar met behoud van eigen func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Van CD &gt; IBT lukt sle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Andersom lukt go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CD 7 x 24 u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IBT van 8:30 – 21:00 u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Nog te realiseren: IBT naar 23:00 u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riagetraining en functie gezamenlij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00CA10B-E4B6-2945-AE1A-BE83CF4A15C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7E1A24-FF7A-D74F-B2F4-2F3AF7A9F58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4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B093A4D-2B98-FD4B-AB84-EE65D5380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IHT en CD </a:t>
            </a:r>
            <a:r>
              <a:rPr lang="nl-NL" dirty="0" err="1"/>
              <a:t>Parnassia</a:t>
            </a:r>
            <a:r>
              <a:rPr lang="nl-NL" dirty="0"/>
              <a:t> NH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123980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1C04DD-5E64-5D47-860C-BC9480452357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Welke disciplines nodig in IHT formati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Inbedding in organisatie en bij ketenpartners, ho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err="1"/>
              <a:t>Detoxen</a:t>
            </a:r>
            <a:r>
              <a:rPr lang="nl-NL" dirty="0"/>
              <a:t>, wat kan wel en wat kan nie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Hoe bewaak je de doorstroming binnen je eigen organisatie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E2B3CFE-5FD8-7A42-AD35-3FD46B6E05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6F6D775-B959-DB40-97E6-1C5BDAC887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15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138FCE7-C2E1-C24E-A322-6F85B6FFFE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U</a:t>
            </a:r>
            <a:r>
              <a:rPr lang="nl-NL"/>
              <a:t>itdagingen</a:t>
            </a:r>
            <a:r>
              <a:rPr lang="nl-NL" dirty="0"/>
              <a:t>/vragen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52157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3DCC5A9-0095-9E47-A0B2-F1FE090589C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err="1"/>
              <a:t>Alette</a:t>
            </a:r>
            <a:r>
              <a:rPr lang="nl-NL" dirty="0"/>
              <a:t> Ruiter &amp; Mariëlle Hendrik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Hoe lang zijn we bezig met IH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2 voorbeelden van succes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8D54C16-61BE-B142-850D-2B985BC6318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EFD3004-034F-C144-86E0-03AFDB71DA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2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82784B-64D5-5C4E-B862-C0306707B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Voorstellen …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583137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E63E8D-FEBC-8B41-B9EE-F13DDB5643DC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Beter worden/herstellen doe je thu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Een opname is een intermezzo in een ambulante behand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endParaRPr lang="nl-NL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6D4FC8-3626-424E-9927-60859894341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C97512-B639-444F-AA22-B7C5B55BE2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3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8D55AAC-F76D-BE4D-9374-4AE51DEFD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Slogans IHT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60030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35CFACC-76FB-F74F-93CA-86AB73226406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Zorg wordt geleverd in de minst restrictieve omgev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Naast zorg voor patiënt, ook ondersteuning van naa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7 x 24 u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Betrokken tot crisis is bezworen en de patiënt verzekerd is van goede zor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Poortwachter bedden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625E2F-0BA6-CE41-B338-092D532108A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A2DC1F9-71D8-7544-AC0F-A45A82719E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4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D926B83-C0A5-144A-931D-DF6B15C1F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IHT principes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751544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Tijdelijke aanduiding voor inhoud 2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5064E0-B850-470B-943C-69928D0F5BEE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2"/>
          <a:stretch>
            <a:fillRect/>
          </a:stretch>
        </p:blipFill>
        <p:spPr>
          <a:xfrm>
            <a:off x="1862908" y="745468"/>
            <a:ext cx="5164182" cy="3652564"/>
          </a:xfrm>
          <a:prstGeom prst="rect">
            <a:avLst/>
          </a:prstGeom>
        </p:spPr>
      </p:pic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3412DD-C30D-4655-BA08-4F9FF90D2A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C5E490E-282F-4E2B-85FE-C685566B3B8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5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83CBE73-6C82-4297-83F1-0B677D13B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erzorgingsgebied en indeling IHT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3DB97A8-510A-4CCD-8807-16FCAACBCD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35931" y="211820"/>
            <a:ext cx="1594008" cy="553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668389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938232-50DC-674E-B772-E9C54A0821E9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Projectgroe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Werkgroepen in elke reg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Welke formatie/groott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Verzorgingsgebi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Facilitaire ondersteuning: </a:t>
            </a:r>
            <a:r>
              <a:rPr lang="nl-NL" dirty="0" err="1"/>
              <a:t>digibord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martphone, tablet, agendavoering, vervo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choling teams in IHT model, risico taxatie en systemische crisisinterven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tartdatum vaststellen en ontwikkelend uitvoe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2019 crisisdienst 0-100 met IHT als onderdeel 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6361D92-7E3D-FF4C-ACCB-A77608DA072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D6D9795-1AD2-5B42-88B0-447190B209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6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02F195C-23A7-AB4E-BB40-ED2E53853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Voorbereiding en implementatie NHN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335506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5AFE54F-314B-A745-A4FC-3E9B9B9DFF8F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Crisisdienst functie binnen het IHT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Aanmeldingen &lt; 24 uur bij IHT anders bij reguliere GGZ te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ri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In-door-uitstroom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DAB0B2A-972C-0141-98CC-61AB3F483EB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FFDCFF-99F0-3141-9C06-35287518D6C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7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4B0D2DB-B0C0-414D-B3BE-2B89F35E5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IHT en CD NHN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570181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DA3DD26-839A-3041-BD0E-3AFBD5D275A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24762" y="1086677"/>
            <a:ext cx="8495070" cy="3593095"/>
          </a:xfrm>
        </p:spPr>
        <p:txBody>
          <a:bodyPr/>
          <a:lstStyle/>
          <a:p>
            <a:r>
              <a:rPr lang="nl-NL" dirty="0"/>
              <a:t>Alette</a:t>
            </a:r>
          </a:p>
          <a:p>
            <a:pPr algn="ctr"/>
            <a:r>
              <a:rPr lang="nl-NL" dirty="0"/>
              <a:t>Verzorgingsgebied 230 inwoners </a:t>
            </a:r>
          </a:p>
          <a:p>
            <a:r>
              <a:rPr lang="nl-NL" dirty="0"/>
              <a:t>Totaal 14.33 FTE(2019)</a:t>
            </a:r>
          </a:p>
          <a:p>
            <a:r>
              <a:rPr lang="nl-NL" dirty="0"/>
              <a:t>Psychiater en arts/AIOS 2 FTE</a:t>
            </a:r>
          </a:p>
          <a:p>
            <a:r>
              <a:rPr lang="nl-NL" dirty="0"/>
              <a:t>SPV 3.44 FTE</a:t>
            </a:r>
          </a:p>
          <a:p>
            <a:r>
              <a:rPr lang="nl-NL" dirty="0"/>
              <a:t>Senior psychiatrisch verpleegkundigen 6.33 FTE</a:t>
            </a:r>
          </a:p>
          <a:p>
            <a:r>
              <a:rPr lang="nl-NL" dirty="0"/>
              <a:t>Agogische werkende, </a:t>
            </a:r>
            <a:r>
              <a:rPr lang="nl-NL" dirty="0" err="1"/>
              <a:t>vaktherapeuten</a:t>
            </a:r>
            <a:r>
              <a:rPr lang="nl-NL" dirty="0"/>
              <a:t> 1.22 FTE</a:t>
            </a:r>
          </a:p>
          <a:p>
            <a:r>
              <a:rPr lang="nl-NL" dirty="0"/>
              <a:t>Maatschappelijk werkende 0.44 FTE</a:t>
            </a:r>
          </a:p>
          <a:p>
            <a:r>
              <a:rPr lang="nl-NL" dirty="0"/>
              <a:t>Meewerkend Teamleider 0.9 FTE </a:t>
            </a:r>
          </a:p>
          <a:p>
            <a:r>
              <a:rPr lang="nl-NL" dirty="0"/>
              <a:t>(Psycholoog was 0.16 FTE/2019 op </a:t>
            </a:r>
            <a:r>
              <a:rPr lang="nl-NL" dirty="0" err="1"/>
              <a:t>Flex</a:t>
            </a:r>
            <a:r>
              <a:rPr lang="nl-NL" dirty="0"/>
              <a:t> basis)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183817-A5B6-DC40-9BC8-3FF8D9A857C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nl-NL" noProof="0" dirty="0"/>
              <a:t>Titel van het document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7F4D8BB-E7B9-0C41-9632-3DEC60CA659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8</a:t>
            </a:fld>
            <a:endParaRPr lang="nl-NL" noProof="0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64F0EA-4ED4-C749-B065-1B02B86FE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562" y="463727"/>
            <a:ext cx="8495070" cy="756000"/>
          </a:xfrm>
        </p:spPr>
        <p:txBody>
          <a:bodyPr/>
          <a:lstStyle/>
          <a:p>
            <a:pPr algn="ctr"/>
            <a:r>
              <a:rPr lang="nl-NL" dirty="0"/>
              <a:t>       Voorbeeld formatie IHT team NHN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0CE84D0-EFC1-4AC1-8E5D-C3545C8CCF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946" y="457902"/>
            <a:ext cx="1805901" cy="62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884758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dirty="0"/>
              <a:t>Voorbereiding en implementatie </a:t>
            </a:r>
            <a:r>
              <a:rPr lang="nl-NL" dirty="0" err="1"/>
              <a:t>Parnassia</a:t>
            </a:r>
            <a:r>
              <a:rPr lang="nl-NL" dirty="0"/>
              <a:t> NH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 noProof="0"/>
              <a:t>Titel van het document</a:t>
            </a:r>
            <a:endParaRPr lang="nl-NL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713EB3-02BC-4599-8A41-B768ADEB54D1}" type="slidenum">
              <a:rPr lang="nl-NL" noProof="0" smtClean="0"/>
              <a:pPr/>
              <a:t>9</a:t>
            </a:fld>
            <a:endParaRPr lang="nl-NL" noProof="0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3"/>
          </p:nvPr>
        </p:nvSpPr>
        <p:spPr>
          <a:xfrm>
            <a:off x="317149" y="869991"/>
            <a:ext cx="4664502" cy="3809783"/>
          </a:xfrm>
        </p:spPr>
        <p:txBody>
          <a:bodyPr/>
          <a:lstStyle/>
          <a:p>
            <a:r>
              <a:rPr lang="nl-NL" b="1" dirty="0"/>
              <a:t>Van eilanden naar integrati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amenvoeging Acute Ke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amenwerking CD/IBT/PIT/AD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Bekijken aanbod ADB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Aansluiting IBT op de klini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Pilot en invoering </a:t>
            </a:r>
            <a:r>
              <a:rPr lang="nl-NL" dirty="0" err="1"/>
              <a:t>Triagist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Toenemende leergierigheid/gezonde competi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amenwerking ketenpartners!</a:t>
            </a:r>
          </a:p>
          <a:p>
            <a:pPr marL="573750" lvl="1" indent="-285750"/>
            <a:r>
              <a:rPr lang="nl-NL" dirty="0"/>
              <a:t>HA </a:t>
            </a:r>
          </a:p>
          <a:p>
            <a:pPr marL="573750" lvl="1" indent="-285750"/>
            <a:r>
              <a:rPr lang="nl-NL" dirty="0" err="1"/>
              <a:t>Ambu</a:t>
            </a:r>
            <a:endParaRPr lang="nl-NL" dirty="0"/>
          </a:p>
          <a:p>
            <a:pPr marL="573750" lvl="1" indent="-285750"/>
            <a:r>
              <a:rPr lang="nl-NL" dirty="0"/>
              <a:t>Poli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dirty="0"/>
          </a:p>
          <a:p>
            <a:pPr marL="285750" indent="-285750"/>
            <a:endParaRPr lang="nl-NL" dirty="0"/>
          </a:p>
          <a:p>
            <a:endParaRPr lang="nl-NL" dirty="0"/>
          </a:p>
        </p:txBody>
      </p:sp>
      <p:pic>
        <p:nvPicPr>
          <p:cNvPr id="7" name="Tijdelijke aanduiding voor inhoud 6"/>
          <p:cNvPicPr>
            <a:picLocks noGrp="1" noChangeAspect="1"/>
          </p:cNvPicPr>
          <p:nvPr>
            <p:ph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5238750" y="1848675"/>
            <a:ext cx="3048000" cy="1868424"/>
          </a:xfr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80440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joFiNsyPTqyjHcbo_aekPg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7E1CaxOCR26HKvPVBjKQzQ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7E1CaxOCR26HKvPVBjKQzQ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7E1CaxOCR26HKvPVBjKQzQ"/>
</p:tagLst>
</file>

<file path=ppt/theme/theme1.xml><?xml version="1.0" encoding="utf-8"?>
<a:theme xmlns:a="http://schemas.openxmlformats.org/drawingml/2006/main" name="Parnassia_PP_template">
  <a:themeElements>
    <a:clrScheme name="Parnassia Groep - Parnassia">
      <a:dk1>
        <a:sysClr val="windowText" lastClr="000000"/>
      </a:dk1>
      <a:lt1>
        <a:sysClr val="window" lastClr="FFFFFF"/>
      </a:lt1>
      <a:dk2>
        <a:srgbClr val="1971DB"/>
      </a:dk2>
      <a:lt2>
        <a:srgbClr val="FFFFFF"/>
      </a:lt2>
      <a:accent1>
        <a:srgbClr val="1971DB"/>
      </a:accent1>
      <a:accent2>
        <a:srgbClr val="1C0F54"/>
      </a:accent2>
      <a:accent3>
        <a:srgbClr val="EF75AA"/>
      </a:accent3>
      <a:accent4>
        <a:srgbClr val="006D47"/>
      </a:accent4>
      <a:accent5>
        <a:srgbClr val="FAB800"/>
      </a:accent5>
      <a:accent6>
        <a:srgbClr val="F7F4F4"/>
      </a:accent6>
      <a:hlink>
        <a:srgbClr val="1971DB"/>
      </a:hlink>
      <a:folHlink>
        <a:srgbClr val="EF75AA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Midden Blauw">
      <a:srgbClr val="1971DB"/>
    </a:custClr>
    <a:custClr name="Donker Blauw">
      <a:srgbClr val="1C0F54"/>
    </a:custClr>
    <a:custClr name="Licht Roze">
      <a:srgbClr val="EF75AA"/>
    </a:custClr>
    <a:custClr name="Donker Groen">
      <a:srgbClr val="006D47"/>
    </a:custClr>
    <a:custClr name="Oker">
      <a:srgbClr val="FAB800"/>
    </a:custClr>
    <a:custClr name="Licht Grijs">
      <a:srgbClr val="F7F4F4"/>
    </a:custClr>
    <a:custClr name="Wit">
      <a:srgbClr val="FFFFFF"/>
    </a:custClr>
  </a:custClrLst>
  <a:extLst>
    <a:ext uri="{05A4C25C-085E-4340-85A3-A5531E510DB2}">
      <thm15:themeFamily xmlns:thm15="http://schemas.microsoft.com/office/thememl/2012/main" xmlns:a="http://schemas.openxmlformats.org/drawingml/2006/main" xmlns="" name="Parnassia_PP_model.pptx" id="{ECCF6EFD-31AF-46A3-AD0E-CD41435F7DE3}" vid="{203E5D69-1A0A-4CA1-867C-01B40F0465C0}"/>
    </a:ext>
  </a:extLst>
</a:theme>
</file>

<file path=ppt/theme/theme2.xml><?xml version="1.0" encoding="utf-8"?>
<a:theme xmlns:a="http://schemas.openxmlformats.org/drawingml/2006/main" name="Custom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xmlns:a="http://schemas.openxmlformats.org/drawingml/2006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">
  <a:themeElements>
    <a:clrScheme name="PG">
      <a:dk1>
        <a:sysClr val="windowText" lastClr="000000"/>
      </a:dk1>
      <a:lt1>
        <a:sysClr val="window" lastClr="FFFFFF"/>
      </a:lt1>
      <a:dk2>
        <a:srgbClr val="0036A0"/>
      </a:dk2>
      <a:lt2>
        <a:srgbClr val="FFFFFF"/>
      </a:lt2>
      <a:accent1>
        <a:srgbClr val="0036A0"/>
      </a:accent1>
      <a:accent2>
        <a:srgbClr val="6378DF"/>
      </a:accent2>
      <a:accent3>
        <a:srgbClr val="F20052"/>
      </a:accent3>
      <a:accent4>
        <a:srgbClr val="05B55C"/>
      </a:accent4>
      <a:accent5>
        <a:srgbClr val="FAB800"/>
      </a:accent5>
      <a:accent6>
        <a:srgbClr val="EC8603"/>
      </a:accent6>
      <a:hlink>
        <a:srgbClr val="0036A0"/>
      </a:hlink>
      <a:folHlink>
        <a:srgbClr val="F20052"/>
      </a:folHlink>
    </a:clrScheme>
    <a:fontScheme name="P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w">
      <a:srgbClr val="0036A1"/>
    </a:custClr>
    <a:custClr name="Paars">
      <a:srgbClr val="6378DE"/>
    </a:custClr>
    <a:custClr name="Midden Roze">
      <a:srgbClr val="F20052"/>
    </a:custClr>
    <a:custClr name="Groen">
      <a:srgbClr val="05B55C"/>
    </a:custClr>
    <a:custClr name="Oker">
      <a:srgbClr val="FAB800"/>
    </a:custClr>
    <a:custClr name="Oranje">
      <a:srgbClr val="ED8703"/>
    </a:custClr>
    <a:custClr name="Wit">
      <a:srgbClr val="FFFFFF"/>
    </a:custClr>
  </a:custClrLst>
  <a:extLst>
    <a:ext uri="{05A4C25C-085E-4340-85A3-A5531E510DB2}">
      <thm15:themeFamily xmlns:thm15="http://schemas.microsoft.com/office/thememl/2012/main" xmlns:a="http://schemas.openxmlformats.org/drawingml/2006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3</TotalTime>
  <Words>617</Words>
  <Application>Microsoft Macintosh PowerPoint</Application>
  <PresentationFormat>Diavoorstelling (16:9)</PresentationFormat>
  <Paragraphs>141</Paragraphs>
  <Slides>15</Slides>
  <Notes>0</Notes>
  <HiddenSlides>0</HiddenSlides>
  <MMClips>0</MMClips>
  <ScaleCrop>false</ScaleCrop>
  <HeadingPairs>
    <vt:vector size="6" baseType="variant">
      <vt:variant>
        <vt:lpstr>Ontwerpsjabloon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5</vt:i4>
      </vt:variant>
    </vt:vector>
  </HeadingPairs>
  <TitlesOfParts>
    <vt:vector size="17" baseType="lpstr">
      <vt:lpstr>Parnassia_PP_template</vt:lpstr>
      <vt:lpstr>think-cell Slide</vt:lpstr>
      <vt:lpstr>                    Alette Ruiter &amp; Mariëlle Hendriksen Startende IHT teams</vt:lpstr>
      <vt:lpstr>Voorstellen …</vt:lpstr>
      <vt:lpstr>Slogans IHT</vt:lpstr>
      <vt:lpstr>IHT principes</vt:lpstr>
      <vt:lpstr>Verzorgingsgebied en indeling IHT</vt:lpstr>
      <vt:lpstr>Voorbereiding en implementatie NHN</vt:lpstr>
      <vt:lpstr>IHT en CD NHN</vt:lpstr>
      <vt:lpstr>       Voorbeeld formatie IHT team NHN</vt:lpstr>
      <vt:lpstr>Voorbereiding en implementatie Parnassia NH</vt:lpstr>
      <vt:lpstr>Een gezamenlijke koers vinden</vt:lpstr>
      <vt:lpstr>Inhoud versus Uitvoering</vt:lpstr>
      <vt:lpstr>Verzorgingsgebied Parnassia NH</vt:lpstr>
      <vt:lpstr>Voorbeeld formatie IHT team Parnassia </vt:lpstr>
      <vt:lpstr>IHT en CD Parnassia NH</vt:lpstr>
      <vt:lpstr>Uitdagingen/vragen</vt:lpstr>
    </vt:vector>
  </TitlesOfParts>
  <Company>Parnassia Groe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ute Keten Noord Holland</dc:title>
  <dc:creator>20621114</dc:creator>
  <cp:lastModifiedBy>Karin Bonouvrie</cp:lastModifiedBy>
  <cp:revision>92</cp:revision>
  <dcterms:created xsi:type="dcterms:W3CDTF">2019-05-20T12:36:00Z</dcterms:created>
  <dcterms:modified xsi:type="dcterms:W3CDTF">2019-05-20T12:36:29Z</dcterms:modified>
</cp:coreProperties>
</file>